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0" r:id="rId1"/>
    <p:sldMasterId id="2147483715" r:id="rId2"/>
    <p:sldMasterId id="2147483664" r:id="rId3"/>
    <p:sldMasterId id="2147483755" r:id="rId4"/>
    <p:sldMasterId id="2147483822" r:id="rId5"/>
  </p:sldMasterIdLst>
  <p:notesMasterIdLst>
    <p:notesMasterId r:id="rId30"/>
  </p:notesMasterIdLst>
  <p:sldIdLst>
    <p:sldId id="2147469962" r:id="rId6"/>
    <p:sldId id="1193" r:id="rId7"/>
    <p:sldId id="2147469993" r:id="rId8"/>
    <p:sldId id="1194" r:id="rId9"/>
    <p:sldId id="2147469994" r:id="rId10"/>
    <p:sldId id="2147470008" r:id="rId11"/>
    <p:sldId id="1199" r:id="rId12"/>
    <p:sldId id="2147470015" r:id="rId13"/>
    <p:sldId id="2147469996" r:id="rId14"/>
    <p:sldId id="2147470038" r:id="rId15"/>
    <p:sldId id="2147470024" r:id="rId16"/>
    <p:sldId id="8916" r:id="rId17"/>
    <p:sldId id="2147470026" r:id="rId18"/>
    <p:sldId id="2147470033" r:id="rId19"/>
    <p:sldId id="2147470034" r:id="rId20"/>
    <p:sldId id="2147469997" r:id="rId21"/>
    <p:sldId id="2147470006" r:id="rId22"/>
    <p:sldId id="2147469998" r:id="rId23"/>
    <p:sldId id="2147470037" r:id="rId24"/>
    <p:sldId id="2147470009" r:id="rId25"/>
    <p:sldId id="2147470012" r:id="rId26"/>
    <p:sldId id="2147470013" r:id="rId27"/>
    <p:sldId id="2147470010" r:id="rId28"/>
    <p:sldId id="2147470014" r:id="rId29"/>
  </p:sldIdLst>
  <p:sldSz cx="24384000" cy="13716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D0D10"/>
    <a:srgbClr val="051800"/>
    <a:srgbClr val="93BF2C"/>
    <a:srgbClr val="9DAACF"/>
    <a:srgbClr val="2F3540"/>
    <a:srgbClr val="E6F3C9"/>
    <a:srgbClr val="E8E8E8"/>
    <a:srgbClr val="DAEDB1"/>
    <a:srgbClr val="BEDF73"/>
    <a:srgbClr val="34334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006" autoAdjust="0"/>
    <p:restoredTop sz="86904" autoAdjust="0"/>
  </p:normalViewPr>
  <p:slideViewPr>
    <p:cSldViewPr snapToGrid="0">
      <p:cViewPr varScale="1">
        <p:scale>
          <a:sx n="43" d="100"/>
          <a:sy n="43" d="100"/>
        </p:scale>
        <p:origin x="1308" y="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6.xml"/><Relationship Id="rId34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D0151DC-F43B-4BB1-8DC7-0A1084F0831C}" type="datetimeFigureOut">
              <a:rPr lang="en-US" smtClean="0"/>
              <a:t>4/26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1192BE4-BA5D-4B5F-98C4-4F0F20D2D6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316711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jpeg"/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jpeg"/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jpeg"/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192BE4-BA5D-4B5F-98C4-4F0F20D2D6C4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69750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192BE4-BA5D-4B5F-98C4-4F0F20D2D6C4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7802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192BE4-BA5D-4B5F-98C4-4F0F20D2D6C4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334567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192BE4-BA5D-4B5F-98C4-4F0F20D2D6C4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539242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192BE4-BA5D-4B5F-98C4-4F0F20D2D6C4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087176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57200" indent="-457200" latinLnBrk="0">
              <a:lnSpc>
                <a:spcPct val="120000"/>
              </a:lnSpc>
              <a:spcBef>
                <a:spcPts val="1200"/>
              </a:spcBef>
              <a:buBlip>
                <a:blip r:embed="rId3"/>
              </a:buBlip>
            </a:pPr>
            <a:r>
              <a:rPr lang="en-US" sz="36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Highly-available file &amp; block storage solution</a:t>
            </a:r>
          </a:p>
          <a:p>
            <a:pPr marL="457200" indent="-457200" latinLnBrk="0">
              <a:lnSpc>
                <a:spcPct val="120000"/>
              </a:lnSpc>
              <a:spcBef>
                <a:spcPts val="1200"/>
              </a:spcBef>
              <a:buBlip>
                <a:blip r:embed="rId3"/>
              </a:buBlip>
            </a:pPr>
            <a:r>
              <a:rPr lang="en-US" sz="36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Supports all major protocols SMB, NFS &amp; iSCSI</a:t>
            </a:r>
          </a:p>
          <a:p>
            <a:pPr marL="457200" indent="-457200" latinLnBrk="0">
              <a:lnSpc>
                <a:spcPct val="120000"/>
              </a:lnSpc>
              <a:spcBef>
                <a:spcPts val="1200"/>
              </a:spcBef>
              <a:buBlip>
                <a:blip r:embed="rId3"/>
              </a:buBlip>
            </a:pPr>
            <a:r>
              <a:rPr lang="en-US" sz="36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Easily expand with zero downtime</a:t>
            </a:r>
          </a:p>
          <a:p>
            <a:pPr marL="457200" indent="-457200" latinLnBrk="0">
              <a:lnSpc>
                <a:spcPct val="120000"/>
              </a:lnSpc>
              <a:spcBef>
                <a:spcPts val="1200"/>
              </a:spcBef>
              <a:buBlip>
                <a:blip r:embed="rId3"/>
              </a:buBlip>
            </a:pPr>
            <a:r>
              <a:rPr lang="en-US" sz="36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Advanced security features including RBAC, encryption-in-transit, encryption-at-rest, single-sign-on, NIST FIPS 140-2 certified</a:t>
            </a:r>
          </a:p>
          <a:p>
            <a:pPr marL="457200" indent="-457200" latinLnBrk="0">
              <a:lnSpc>
                <a:spcPct val="120000"/>
              </a:lnSpc>
              <a:spcBef>
                <a:spcPts val="1200"/>
              </a:spcBef>
              <a:buBlip>
                <a:blip r:embed="rId3"/>
              </a:buBlip>
            </a:pPr>
            <a:r>
              <a:rPr lang="en-US" sz="36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VMware and Veeam Ready certified</a:t>
            </a:r>
          </a:p>
          <a:p>
            <a:pPr marL="457200" indent="-457200" latinLnBrk="0">
              <a:lnSpc>
                <a:spcPct val="120000"/>
              </a:lnSpc>
              <a:spcBef>
                <a:spcPts val="1200"/>
              </a:spcBef>
              <a:buBlip>
                <a:blip r:embed="rId3"/>
              </a:buBlip>
            </a:pPr>
            <a:r>
              <a:rPr lang="en-US" sz="36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Automatic bit-rot detection &amp; correction</a:t>
            </a:r>
          </a:p>
          <a:p>
            <a:pPr marL="457200" indent="-457200" latinLnBrk="0">
              <a:lnSpc>
                <a:spcPct val="120000"/>
              </a:lnSpc>
              <a:spcBef>
                <a:spcPts val="1200"/>
              </a:spcBef>
              <a:buBlip>
                <a:blip r:embed="rId3"/>
              </a:buBlip>
            </a:pPr>
            <a:r>
              <a:rPr lang="en-US" sz="36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Hybrid configuration includes triple-mirrored SSD to boost meta-data and small file performance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1192BE4-BA5D-4B5F-98C4-4F0F20D2D6C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504208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57200" indent="-457200" latinLnBrk="0">
              <a:lnSpc>
                <a:spcPct val="120000"/>
              </a:lnSpc>
              <a:spcBef>
                <a:spcPts val="1200"/>
              </a:spcBef>
              <a:buBlip>
                <a:blip r:embed="rId3"/>
              </a:buBlip>
            </a:pPr>
            <a:r>
              <a:rPr lang="en-US" sz="36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Highly-available file &amp; block storage solution</a:t>
            </a:r>
          </a:p>
          <a:p>
            <a:pPr marL="457200" indent="-457200" latinLnBrk="0">
              <a:lnSpc>
                <a:spcPct val="120000"/>
              </a:lnSpc>
              <a:spcBef>
                <a:spcPts val="1200"/>
              </a:spcBef>
              <a:buBlip>
                <a:blip r:embed="rId3"/>
              </a:buBlip>
            </a:pPr>
            <a:r>
              <a:rPr lang="en-US" sz="36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Supports all major protocols SMB, NFS &amp; iSCSI</a:t>
            </a:r>
          </a:p>
          <a:p>
            <a:pPr marL="457200" indent="-457200" latinLnBrk="0">
              <a:lnSpc>
                <a:spcPct val="120000"/>
              </a:lnSpc>
              <a:spcBef>
                <a:spcPts val="1200"/>
              </a:spcBef>
              <a:buBlip>
                <a:blip r:embed="rId3"/>
              </a:buBlip>
            </a:pPr>
            <a:r>
              <a:rPr lang="en-US" sz="36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Easily expand with zero downtime</a:t>
            </a:r>
          </a:p>
          <a:p>
            <a:pPr marL="457200" indent="-457200" latinLnBrk="0">
              <a:lnSpc>
                <a:spcPct val="120000"/>
              </a:lnSpc>
              <a:spcBef>
                <a:spcPts val="1200"/>
              </a:spcBef>
              <a:buBlip>
                <a:blip r:embed="rId3"/>
              </a:buBlip>
            </a:pPr>
            <a:r>
              <a:rPr lang="en-US" sz="36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Advanced security features including RBAC, encryption-in-transit, encryption-at-rest, single-sign-on, NIST FIPS 140-2 certified</a:t>
            </a:r>
          </a:p>
          <a:p>
            <a:pPr marL="457200" indent="-457200" latinLnBrk="0">
              <a:lnSpc>
                <a:spcPct val="120000"/>
              </a:lnSpc>
              <a:spcBef>
                <a:spcPts val="1200"/>
              </a:spcBef>
              <a:buBlip>
                <a:blip r:embed="rId3"/>
              </a:buBlip>
            </a:pPr>
            <a:r>
              <a:rPr lang="en-US" sz="36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VMware and Veeam Ready certified</a:t>
            </a:r>
          </a:p>
          <a:p>
            <a:pPr marL="457200" indent="-457200" latinLnBrk="0">
              <a:lnSpc>
                <a:spcPct val="120000"/>
              </a:lnSpc>
              <a:spcBef>
                <a:spcPts val="1200"/>
              </a:spcBef>
              <a:buBlip>
                <a:blip r:embed="rId3"/>
              </a:buBlip>
            </a:pPr>
            <a:r>
              <a:rPr lang="en-US" sz="36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Automatic bit-rot detection &amp; correction</a:t>
            </a:r>
          </a:p>
          <a:p>
            <a:pPr marL="457200" indent="-457200" latinLnBrk="0">
              <a:lnSpc>
                <a:spcPct val="120000"/>
              </a:lnSpc>
              <a:spcBef>
                <a:spcPts val="1200"/>
              </a:spcBef>
              <a:buBlip>
                <a:blip r:embed="rId3"/>
              </a:buBlip>
            </a:pPr>
            <a:r>
              <a:rPr lang="en-US" sz="36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Hybrid configuration includes triple-mirrored SSD to boost meta-data and small file performance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1192BE4-BA5D-4B5F-98C4-4F0F20D2D6C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9396166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57200" indent="-457200" latinLnBrk="0">
              <a:lnSpc>
                <a:spcPct val="120000"/>
              </a:lnSpc>
              <a:spcBef>
                <a:spcPts val="1200"/>
              </a:spcBef>
              <a:buBlip>
                <a:blip r:embed="rId3"/>
              </a:buBlip>
            </a:pPr>
            <a:r>
              <a:rPr lang="en-US" sz="12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Unified object, file, and block storage</a:t>
            </a:r>
          </a:p>
          <a:p>
            <a:pPr marL="457200" indent="-457200" latinLnBrk="0">
              <a:lnSpc>
                <a:spcPct val="120000"/>
              </a:lnSpc>
              <a:spcBef>
                <a:spcPts val="1200"/>
              </a:spcBef>
              <a:buBlip>
                <a:blip r:embed="rId3"/>
              </a:buBlip>
            </a:pPr>
            <a:r>
              <a:rPr lang="en-US" sz="12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Scalable to over 100PB per Storage Grid</a:t>
            </a:r>
          </a:p>
          <a:p>
            <a:pPr marL="457200" indent="-457200" latinLnBrk="0">
              <a:lnSpc>
                <a:spcPct val="120000"/>
              </a:lnSpc>
              <a:spcBef>
                <a:spcPts val="1200"/>
              </a:spcBef>
              <a:buBlip>
                <a:blip r:embed="rId3"/>
              </a:buBlip>
            </a:pPr>
            <a:r>
              <a:rPr lang="en-US" sz="12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Supports all major protocols S3, NFS, SMB, iSCSI</a:t>
            </a:r>
          </a:p>
          <a:p>
            <a:pPr marL="457200" indent="-457200" latinLnBrk="0">
              <a:lnSpc>
                <a:spcPct val="120000"/>
              </a:lnSpc>
              <a:spcBef>
                <a:spcPts val="1200"/>
              </a:spcBef>
              <a:buBlip>
                <a:blip r:embed="rId3"/>
              </a:buBlip>
            </a:pPr>
            <a:r>
              <a:rPr lang="en-US" sz="12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Native file protocol accessible (CephFS) for HPC use cases</a:t>
            </a:r>
          </a:p>
          <a:p>
            <a:pPr marL="457200" indent="-457200" latinLnBrk="0">
              <a:lnSpc>
                <a:spcPct val="120000"/>
              </a:lnSpc>
              <a:spcBef>
                <a:spcPts val="1200"/>
              </a:spcBef>
              <a:buBlip>
                <a:blip r:embed="rId3"/>
              </a:buBlip>
            </a:pPr>
            <a:r>
              <a:rPr lang="en-US" sz="12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Seagate CORVAULT Integrated</a:t>
            </a:r>
          </a:p>
          <a:p>
            <a:pPr marL="457200" indent="-45720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prstClr val="black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Reduces CPU and RAM requirements by 50%</a:t>
            </a:r>
          </a:p>
          <a:p>
            <a:pPr marL="457200" indent="-45720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prstClr val="black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Reduces drive maintenance costs by ~50%</a:t>
            </a:r>
          </a:p>
          <a:p>
            <a:pPr marL="457200" indent="-45720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prstClr val="black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Reduces software costs by 10%</a:t>
            </a:r>
          </a:p>
          <a:p>
            <a:pPr marL="457200" indent="-45720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prstClr val="black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Increases solution scalability by 300%</a:t>
            </a:r>
          </a:p>
          <a:p>
            <a:pPr marL="457200" indent="-45720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prstClr val="black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Ideal for rack-scale object &amp; file &gt;= 12PB</a:t>
            </a:r>
          </a:p>
          <a:p>
            <a:pPr marL="457200" indent="-457200">
              <a:buFont typeface="Arial" panose="020B0604020202020204" pitchFamily="34" charset="0"/>
              <a:buChar char="•"/>
              <a:defRPr/>
            </a:pPr>
            <a:endParaRPr lang="en-US" sz="1200" dirty="0">
              <a:solidFill>
                <a:prstClr val="black"/>
              </a:solidFill>
              <a:latin typeface="Source Sans Pro" panose="020B0503030403020204" pitchFamily="34" charset="0"/>
              <a:ea typeface="Source Sans Pro" panose="020B050303040302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  <a:defRPr/>
            </a:pPr>
            <a:endParaRPr lang="en-US" sz="1200" dirty="0">
              <a:solidFill>
                <a:prstClr val="black"/>
              </a:solidFill>
              <a:latin typeface="Source Sans Pro" panose="020B0503030403020204" pitchFamily="34" charset="0"/>
              <a:ea typeface="Source Sans Pro" panose="020B0503030403020204" pitchFamily="34" charset="0"/>
            </a:endParaRPr>
          </a:p>
          <a:p>
            <a:pPr>
              <a:defRPr/>
            </a:pPr>
            <a:endParaRPr lang="en-US" sz="1200" dirty="0">
              <a:solidFill>
                <a:prstClr val="black"/>
              </a:solidFill>
              <a:latin typeface="Source Sans Pro" panose="020B0503030403020204" pitchFamily="34" charset="0"/>
              <a:ea typeface="Source Sans Pro" panose="020B0503030403020204" pitchFamily="34" charset="0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1192BE4-BA5D-4B5F-98C4-4F0F20D2D6C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9255685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leads to longer rebuild times, reducing durability &amp; performanc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adding costs for CPU, RAM and energy requiremen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increasing system TCO and maintenance cos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192BE4-BA5D-4B5F-98C4-4F0F20D2D6C4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21738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jpe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jpeg"/><Relationship Id="rId5" Type="http://schemas.openxmlformats.org/officeDocument/2006/relationships/image" Target="../media/image11.png"/><Relationship Id="rId4" Type="http://schemas.openxmlformats.org/officeDocument/2006/relationships/image" Target="../media/image10.jpe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7.jpeg"/><Relationship Id="rId5" Type="http://schemas.openxmlformats.org/officeDocument/2006/relationships/image" Target="../media/image16.jpeg"/><Relationship Id="rId4" Type="http://schemas.openxmlformats.org/officeDocument/2006/relationships/image" Target="../media/image15.jpe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9.jpe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1.png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7.jpe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8.jpeg"/><Relationship Id="rId5" Type="http://schemas.openxmlformats.org/officeDocument/2006/relationships/image" Target="../media/image11.png"/><Relationship Id="rId4" Type="http://schemas.openxmlformats.org/officeDocument/2006/relationships/image" Target="../media/image37.jpeg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43.jpeg"/><Relationship Id="rId5" Type="http://schemas.openxmlformats.org/officeDocument/2006/relationships/image" Target="../media/image42.jpeg"/><Relationship Id="rId4" Type="http://schemas.openxmlformats.org/officeDocument/2006/relationships/image" Target="../media/image41.jpeg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jpeg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jpeg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8.jpeg"/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jpg"/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jpg"/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emf"/><Relationship Id="rId2" Type="http://schemas.openxmlformats.org/officeDocument/2006/relationships/image" Target="../media/image54.jp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5.png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7D91FA23-8A53-1D43-B5D7-1487D77825A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279045" y="1858784"/>
            <a:ext cx="21867487" cy="2018980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4796" b="0" i="0" spc="0">
                <a:solidFill>
                  <a:schemeClr val="bg2"/>
                </a:solidFill>
                <a:latin typeface="+mj-lt"/>
              </a:defRPr>
            </a:lvl1pPr>
            <a:lvl2pPr marL="913852" indent="0">
              <a:buNone/>
              <a:defRPr sz="3996">
                <a:solidFill>
                  <a:schemeClr val="tx1">
                    <a:tint val="75000"/>
                  </a:schemeClr>
                </a:solidFill>
              </a:defRPr>
            </a:lvl2pPr>
            <a:lvl3pPr marL="1827704" indent="0">
              <a:buNone/>
              <a:defRPr sz="3596">
                <a:solidFill>
                  <a:schemeClr val="tx1">
                    <a:tint val="75000"/>
                  </a:schemeClr>
                </a:solidFill>
              </a:defRPr>
            </a:lvl3pPr>
            <a:lvl4pPr marL="2741556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4pPr>
            <a:lvl5pPr marL="3655406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5pPr>
            <a:lvl6pPr marL="4569256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6pPr>
            <a:lvl7pPr marL="5483108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7pPr>
            <a:lvl8pPr marL="639696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8pPr>
            <a:lvl9pPr marL="7310812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 edit master text styles edit master text styles edit master text styles edit master text styles edit master text styles edit master text styles 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D7258160-C2FB-8443-BB8B-16CA35D8CEB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48829" y="338796"/>
            <a:ext cx="23005255" cy="1647824"/>
          </a:xfrm>
          <a:prstGeom prst="rect">
            <a:avLst/>
          </a:prstGeom>
        </p:spPr>
        <p:txBody>
          <a:bodyPr anchor="b"/>
          <a:lstStyle>
            <a:lvl1pPr>
              <a:defRPr sz="7196" b="1" i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BAEC756-12BC-7344-8C1E-EB9E92C21E38}"/>
              </a:ext>
            </a:extLst>
          </p:cNvPr>
          <p:cNvSpPr/>
          <p:nvPr/>
        </p:nvSpPr>
        <p:spPr>
          <a:xfrm>
            <a:off x="1018655" y="1026408"/>
            <a:ext cx="99418" cy="68398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 b="1" i="0">
              <a:solidFill>
                <a:schemeClr val="accent1"/>
              </a:solidFill>
              <a:latin typeface="Comic Sans MS" panose="030F0902030302020204" pitchFamily="66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0474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42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  <p:anim calcmode="lin" valueType="num">
                      <p:cBhvr>
                        <p:cTn dur="500" fill="hold"/>
                        <p:tgtEl>
                          <p:spTgt spid="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D2FFB88-EC9B-4B92-9F41-562E94169B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68763BFF-5872-4E36-862F-82939CE2EF2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24384000" cy="13716000"/>
          </a:xfrm>
          <a:prstGeom prst="rect">
            <a:avLst/>
          </a:prstGeom>
          <a:blipFill dpi="0" rotWithShape="1">
            <a:blip r:embed="rId2" cstate="screen">
              <a:alphaModFix amt="43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anchor="ctr">
            <a:normAutofit/>
          </a:bodyPr>
          <a:lstStyle>
            <a:lvl1pPr algn="ctr">
              <a:defRPr sz="3596"/>
            </a:lvl1pPr>
          </a:lstStyle>
          <a:p>
            <a:r>
              <a:rPr lang="en-US"/>
              <a:t>Click Icon to Change Photo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1EC3FE05-117B-854A-82A8-F19D64577E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6401" y="7792280"/>
            <a:ext cx="21031201" cy="1524348"/>
          </a:xfrm>
          <a:prstGeom prst="rect">
            <a:avLst/>
          </a:prstGeo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258734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eft +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5FD6A7D7-BBFC-46D9-BD6F-3630418ED19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3293728" y="301084"/>
            <a:ext cx="11090272" cy="1371600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/>
              <a:t>Click Icon to Change Phot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E82905-E4DD-CC40-97AE-8641DAD288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76401" y="5997993"/>
            <a:ext cx="9177130" cy="2651126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023622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hoto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289F5119-43B2-3247-9069-5ED3B058975C}"/>
              </a:ext>
            </a:extLst>
          </p:cNvPr>
          <p:cNvSpPr txBox="1"/>
          <p:nvPr userDrawn="1"/>
        </p:nvSpPr>
        <p:spPr>
          <a:xfrm>
            <a:off x="3762107" y="9802409"/>
            <a:ext cx="4538807" cy="13231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998">
                <a:solidFill>
                  <a:schemeClr val="bg1"/>
                </a:solidFill>
                <a:latin typeface="+mj-lt"/>
              </a:rPr>
              <a:t>ARIAL 40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C6D87A55-D413-1049-ABD0-5D7F87221D68}"/>
              </a:ext>
            </a:extLst>
          </p:cNvPr>
          <p:cNvSpPr/>
          <p:nvPr userDrawn="1"/>
        </p:nvSpPr>
        <p:spPr>
          <a:xfrm>
            <a:off x="3089192" y="10312586"/>
            <a:ext cx="413080" cy="41308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>
              <a:latin typeface="Open Sans Light"/>
            </a:endParaRP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7ACFACF9-DD67-3F4C-B9D9-F4FD25170BB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1042718" y="9218801"/>
            <a:ext cx="11552588" cy="2187574"/>
          </a:xfrm>
          <a:prstGeom prst="rect">
            <a:avLst/>
          </a:prstGeom>
        </p:spPr>
        <p:txBody>
          <a:bodyPr/>
          <a:lstStyle>
            <a:lvl1pPr algn="l">
              <a:defRPr sz="3998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8480788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hoto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AEDCD491-7B04-4A5E-975C-94607A7031F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2201542" y="-16"/>
            <a:ext cx="12182463" cy="6600824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lIns="91440" tIns="45720" rIns="91440" bIns="45720" rtlCol="0" anchor="ctr">
            <a:normAutofit/>
          </a:bodyPr>
          <a:lstStyle>
            <a:lvl1pPr algn="ctr">
              <a:defRPr lang="en-US" sz="3596"/>
            </a:lvl1pPr>
          </a:lstStyle>
          <a:p>
            <a:pPr marL="0" lvl="0" indent="0">
              <a:buNone/>
            </a:pPr>
            <a:r>
              <a:rPr lang="en-US"/>
              <a:t>Click Icon to Change Photo</a:t>
            </a:r>
          </a:p>
        </p:txBody>
      </p:sp>
      <p:sp>
        <p:nvSpPr>
          <p:cNvPr id="13" name="Picture Placeholder 6">
            <a:extLst>
              <a:ext uri="{FF2B5EF4-FFF2-40B4-BE49-F238E27FC236}">
                <a16:creationId xmlns:a16="http://schemas.microsoft.com/office/drawing/2014/main" id="{3629CCC8-B845-4CF7-93E5-FADCF3BFBCF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" y="-16"/>
            <a:ext cx="12201537" cy="6600824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lIns="91440" tIns="45720" rIns="91440" bIns="45720" rtlCol="0" anchor="ctr">
            <a:normAutofit/>
          </a:bodyPr>
          <a:lstStyle>
            <a:lvl1pPr algn="ctr">
              <a:defRPr lang="en-US" sz="3596"/>
            </a:lvl1pPr>
          </a:lstStyle>
          <a:p>
            <a:pPr marL="0" lvl="0" indent="0">
              <a:buNone/>
            </a:pPr>
            <a:r>
              <a:rPr lang="en-US"/>
              <a:t>Click Icon to Change Photo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9BD1019-6DE8-224E-9965-F947CEE8FA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29585" y="6825853"/>
            <a:ext cx="6850508" cy="762750"/>
          </a:xfrm>
          <a:prstGeom prst="rect">
            <a:avLst/>
          </a:prstGeom>
        </p:spPr>
        <p:txBody>
          <a:bodyPr/>
          <a:lstStyle>
            <a:lvl1pPr>
              <a:defRPr sz="3998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989BA1BE-CC15-1B48-B94A-D536459B452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32502" y="8463676"/>
            <a:ext cx="3378200" cy="898524"/>
          </a:xfrm>
          <a:prstGeom prst="rect">
            <a:avLst/>
          </a:prstGeom>
        </p:spPr>
        <p:txBody>
          <a:bodyPr anchor="ctr"/>
          <a:lstStyle>
            <a:lvl1pPr algn="ctr">
              <a:defRPr sz="4798" b="1">
                <a:solidFill>
                  <a:schemeClr val="bg2"/>
                </a:solidFill>
              </a:defRPr>
            </a:lvl1pPr>
          </a:lstStyle>
          <a:p>
            <a:r>
              <a:rPr lang="id-ID" sz="32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32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32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138901D1-EDB0-BB45-998F-7D756253BF0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802544" y="9755691"/>
            <a:ext cx="6737351" cy="2187574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EB53C5B0-0511-764B-9818-C22F323DFD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739621" y="8463676"/>
            <a:ext cx="3378200" cy="898524"/>
          </a:xfrm>
          <a:prstGeom prst="rect">
            <a:avLst/>
          </a:prstGeom>
        </p:spPr>
        <p:txBody>
          <a:bodyPr anchor="ctr"/>
          <a:lstStyle>
            <a:lvl1pPr algn="ctr">
              <a:defRPr sz="4798" b="1">
                <a:solidFill>
                  <a:schemeClr val="bg2"/>
                </a:solidFill>
              </a:defRPr>
            </a:lvl1pPr>
          </a:lstStyle>
          <a:p>
            <a:r>
              <a:rPr lang="id-ID" sz="32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32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32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20C9A8F2-2702-0D49-BEAB-24F408308A8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4909664" y="9755691"/>
            <a:ext cx="6737351" cy="2187574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3AF5E2-A761-6144-A007-72AC2FC28ADF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14843129" y="6826250"/>
            <a:ext cx="6851650" cy="762352"/>
          </a:xfrm>
          <a:prstGeom prst="rect">
            <a:avLst/>
          </a:prstGeom>
        </p:spPr>
        <p:txBody>
          <a:bodyPr anchor="ctr"/>
          <a:lstStyle>
            <a:lvl1pPr algn="ctr">
              <a:defRPr sz="3998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371991807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 + Content Gri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0" hasCustomPrompt="1"/>
          </p:nvPr>
        </p:nvSpPr>
        <p:spPr>
          <a:xfrm>
            <a:off x="3" y="0"/>
            <a:ext cx="7792819" cy="6857992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id-ID"/>
              <a:t>Click Icon to Change Photo</a:t>
            </a:r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11" hasCustomPrompt="1"/>
          </p:nvPr>
        </p:nvSpPr>
        <p:spPr>
          <a:xfrm>
            <a:off x="7832574" y="6857994"/>
            <a:ext cx="7913413" cy="684194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id-ID"/>
              <a:t>Click Icon to Change Photo</a:t>
            </a:r>
          </a:p>
        </p:txBody>
      </p:sp>
      <p:sp>
        <p:nvSpPr>
          <p:cNvPr id="9" name="Picture Placeholder 6"/>
          <p:cNvSpPr>
            <a:spLocks noGrp="1"/>
          </p:cNvSpPr>
          <p:nvPr>
            <p:ph type="pic" sz="quarter" idx="12" hasCustomPrompt="1"/>
          </p:nvPr>
        </p:nvSpPr>
        <p:spPr>
          <a:xfrm>
            <a:off x="15784250" y="-3870"/>
            <a:ext cx="8599752" cy="6857992"/>
          </a:xfrm>
          <a:prstGeom prst="rect">
            <a:avLst/>
          </a:prstGeom>
        </p:spPr>
        <p:txBody>
          <a:bodyPr anchor="ctr"/>
          <a:lstStyle>
            <a:lvl1pPr marL="0" marR="0" indent="0" algn="ctr" defTabSz="1086684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lvl1pPr>
          </a:lstStyle>
          <a:p>
            <a:pPr marL="0" marR="0" lvl="0" indent="0" algn="ctr" defTabSz="1086684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/>
              <a:t>Click Icon to Change Photo</a:t>
            </a:r>
          </a:p>
          <a:p>
            <a:endParaRPr lang="id-ID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7DA256D9-E171-584A-A056-2CDE62F86F54}"/>
              </a:ext>
            </a:extLst>
          </p:cNvPr>
          <p:cNvSpPr/>
          <p:nvPr/>
        </p:nvSpPr>
        <p:spPr>
          <a:xfrm>
            <a:off x="11640389" y="1873071"/>
            <a:ext cx="297786" cy="29778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2800">
              <a:solidFill>
                <a:srgbClr val="82C65C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C1F988B-95B2-0F41-B509-46D2185FD22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100180" y="2661998"/>
            <a:ext cx="3378200" cy="898524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id-ID" sz="32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32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32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634465F0-AAD5-2641-9954-3B6DC6D607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270223" y="3815113"/>
            <a:ext cx="6737351" cy="2187574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0B873057-9D46-3445-9E3A-C036B4796A50}"/>
              </a:ext>
            </a:extLst>
          </p:cNvPr>
          <p:cNvSpPr/>
          <p:nvPr userDrawn="1"/>
        </p:nvSpPr>
        <p:spPr>
          <a:xfrm>
            <a:off x="3834856" y="7902811"/>
            <a:ext cx="297786" cy="29778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2800">
              <a:solidFill>
                <a:srgbClr val="82C65C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824912F3-5F88-2F4F-8431-A637B459D18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94647" y="8691738"/>
            <a:ext cx="3378200" cy="898524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id-ID" sz="32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32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32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2C069D62-C773-5F4C-A228-C8061D7CD7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64691" y="9844853"/>
            <a:ext cx="6737351" cy="2187574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C038E26D-F877-0240-9507-DA27C78FD74B}"/>
              </a:ext>
            </a:extLst>
          </p:cNvPr>
          <p:cNvSpPr/>
          <p:nvPr userDrawn="1"/>
        </p:nvSpPr>
        <p:spPr>
          <a:xfrm>
            <a:off x="20115150" y="7902811"/>
            <a:ext cx="297786" cy="29778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2800">
              <a:solidFill>
                <a:srgbClr val="82C65C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BEACD3D0-A27A-B14E-8A1F-10B935F12B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574941" y="8691738"/>
            <a:ext cx="3378200" cy="898524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id-ID" sz="32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32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32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27" name="Text Placeholder 20">
            <a:extLst>
              <a:ext uri="{FF2B5EF4-FFF2-40B4-BE49-F238E27FC236}">
                <a16:creationId xmlns:a16="http://schemas.microsoft.com/office/drawing/2014/main" id="{5BAB2EAA-8AB6-9D43-8F6D-345D513DF8F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6744984" y="9844853"/>
            <a:ext cx="6737351" cy="2187574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4328031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hoto + Content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Oval 25">
            <a:extLst>
              <a:ext uri="{FF2B5EF4-FFF2-40B4-BE49-F238E27FC236}">
                <a16:creationId xmlns:a16="http://schemas.microsoft.com/office/drawing/2014/main" id="{B53D3BA0-FFB2-F142-8B78-89C6BBCC7B73}"/>
              </a:ext>
            </a:extLst>
          </p:cNvPr>
          <p:cNvSpPr/>
          <p:nvPr userDrawn="1"/>
        </p:nvSpPr>
        <p:spPr>
          <a:xfrm>
            <a:off x="4325188" y="1097819"/>
            <a:ext cx="297786" cy="29778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2800">
              <a:solidFill>
                <a:srgbClr val="82C65C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27E1406B-0B0E-B245-8650-E94BCBE9979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84979" y="1886746"/>
            <a:ext cx="3378200" cy="898524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id-ID" sz="32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32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32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28" name="Text Placeholder 20">
            <a:extLst>
              <a:ext uri="{FF2B5EF4-FFF2-40B4-BE49-F238E27FC236}">
                <a16:creationId xmlns:a16="http://schemas.microsoft.com/office/drawing/2014/main" id="{9FE6C80D-0441-FB4E-A161-FE53A7B70F2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55022" y="3039861"/>
            <a:ext cx="6737351" cy="2187574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03C60729-DA93-AA4B-A8A5-F5F97051F7C2}"/>
              </a:ext>
            </a:extLst>
          </p:cNvPr>
          <p:cNvSpPr/>
          <p:nvPr userDrawn="1"/>
        </p:nvSpPr>
        <p:spPr>
          <a:xfrm>
            <a:off x="4325188" y="8253993"/>
            <a:ext cx="297786" cy="29778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2800">
              <a:solidFill>
                <a:srgbClr val="82C65C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EF150151-68FA-C644-A144-79CA9B1B943C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>
            <a:off x="2784979" y="9042920"/>
            <a:ext cx="3378200" cy="898524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id-ID" sz="32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32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32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31" name="Text Placeholder 20">
            <a:extLst>
              <a:ext uri="{FF2B5EF4-FFF2-40B4-BE49-F238E27FC236}">
                <a16:creationId xmlns:a16="http://schemas.microsoft.com/office/drawing/2014/main" id="{3092E41E-50E9-5545-A36B-F0DE5B3C3FB4}"/>
              </a:ext>
            </a:extLst>
          </p:cNvPr>
          <p:cNvSpPr>
            <a:spLocks noGrp="1"/>
          </p:cNvSpPr>
          <p:nvPr>
            <p:ph type="body" sz="quarter" idx="93"/>
          </p:nvPr>
        </p:nvSpPr>
        <p:spPr>
          <a:xfrm>
            <a:off x="955022" y="10196035"/>
            <a:ext cx="6737351" cy="2187574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7865CAE8-5CF4-7045-91ED-E8C12AE59741}"/>
              </a:ext>
            </a:extLst>
          </p:cNvPr>
          <p:cNvSpPr/>
          <p:nvPr userDrawn="1"/>
        </p:nvSpPr>
        <p:spPr>
          <a:xfrm>
            <a:off x="20168164" y="1097819"/>
            <a:ext cx="297786" cy="29778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2800">
              <a:solidFill>
                <a:srgbClr val="82C65C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8C375E08-091F-7340-B9B7-C2C3CF326179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18627955" y="1886746"/>
            <a:ext cx="3378200" cy="898524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id-ID" sz="32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32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32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34" name="Text Placeholder 20">
            <a:extLst>
              <a:ext uri="{FF2B5EF4-FFF2-40B4-BE49-F238E27FC236}">
                <a16:creationId xmlns:a16="http://schemas.microsoft.com/office/drawing/2014/main" id="{9B4471DD-9484-E84C-969B-7B070770AA17}"/>
              </a:ext>
            </a:extLst>
          </p:cNvPr>
          <p:cNvSpPr>
            <a:spLocks noGrp="1"/>
          </p:cNvSpPr>
          <p:nvPr>
            <p:ph type="body" sz="quarter" idx="95"/>
          </p:nvPr>
        </p:nvSpPr>
        <p:spPr>
          <a:xfrm>
            <a:off x="16797996" y="3039861"/>
            <a:ext cx="6737351" cy="2187574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F28752F7-ECC1-144E-8FEC-1C4E4E12F7D1}"/>
              </a:ext>
            </a:extLst>
          </p:cNvPr>
          <p:cNvSpPr/>
          <p:nvPr userDrawn="1"/>
        </p:nvSpPr>
        <p:spPr>
          <a:xfrm>
            <a:off x="20168164" y="8253993"/>
            <a:ext cx="297786" cy="29778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2800">
              <a:solidFill>
                <a:srgbClr val="82C65C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CABBF111-8A51-D343-A1B5-F0E2106E8081}"/>
              </a:ext>
            </a:extLst>
          </p:cNvPr>
          <p:cNvSpPr>
            <a:spLocks noGrp="1"/>
          </p:cNvSpPr>
          <p:nvPr>
            <p:ph type="body" sz="quarter" idx="96" hasCustomPrompt="1"/>
          </p:nvPr>
        </p:nvSpPr>
        <p:spPr>
          <a:xfrm>
            <a:off x="18627955" y="9042920"/>
            <a:ext cx="3378200" cy="898524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id-ID" sz="32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32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32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37" name="Text Placeholder 20">
            <a:extLst>
              <a:ext uri="{FF2B5EF4-FFF2-40B4-BE49-F238E27FC236}">
                <a16:creationId xmlns:a16="http://schemas.microsoft.com/office/drawing/2014/main" id="{979E147C-32E7-F049-A2C1-AA7010606F45}"/>
              </a:ext>
            </a:extLst>
          </p:cNvPr>
          <p:cNvSpPr>
            <a:spLocks noGrp="1"/>
          </p:cNvSpPr>
          <p:nvPr>
            <p:ph type="body" sz="quarter" idx="97"/>
          </p:nvPr>
        </p:nvSpPr>
        <p:spPr>
          <a:xfrm>
            <a:off x="16797996" y="10196035"/>
            <a:ext cx="6737351" cy="2187574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Рисунок 4">
            <a:extLst>
              <a:ext uri="{FF2B5EF4-FFF2-40B4-BE49-F238E27FC236}">
                <a16:creationId xmlns:a16="http://schemas.microsoft.com/office/drawing/2014/main" id="{ED79AA77-FDFA-5B4C-84F9-3E8CD5D6B297}"/>
              </a:ext>
            </a:extLst>
          </p:cNvPr>
          <p:cNvSpPr>
            <a:spLocks noGrp="1"/>
          </p:cNvSpPr>
          <p:nvPr>
            <p:ph type="pic" sz="quarter" idx="87" hasCustomPrompt="1"/>
          </p:nvPr>
        </p:nvSpPr>
        <p:spPr>
          <a:xfrm>
            <a:off x="8478748" y="-28516"/>
            <a:ext cx="3694398" cy="6927156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marR="0" indent="0" algn="ctr" defTabSz="1086684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500"/>
            </a:lvl1pPr>
          </a:lstStyle>
          <a:p>
            <a:pPr marL="0" marR="0" lvl="0" indent="0" algn="ctr" defTabSz="1086684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/>
              <a:t>Click Icon to Change Photo</a:t>
            </a:r>
          </a:p>
          <a:p>
            <a:endParaRPr lang="en-US"/>
          </a:p>
        </p:txBody>
      </p:sp>
      <p:sp>
        <p:nvSpPr>
          <p:cNvPr id="19" name="Рисунок 4">
            <a:extLst>
              <a:ext uri="{FF2B5EF4-FFF2-40B4-BE49-F238E27FC236}">
                <a16:creationId xmlns:a16="http://schemas.microsoft.com/office/drawing/2014/main" id="{EF41D5EF-FBA6-5040-9E08-674A4815AACE}"/>
              </a:ext>
            </a:extLst>
          </p:cNvPr>
          <p:cNvSpPr>
            <a:spLocks noGrp="1"/>
          </p:cNvSpPr>
          <p:nvPr>
            <p:ph type="pic" sz="quarter" idx="88" hasCustomPrompt="1"/>
          </p:nvPr>
        </p:nvSpPr>
        <p:spPr>
          <a:xfrm>
            <a:off x="12215147" y="-28516"/>
            <a:ext cx="3694398" cy="6927156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marR="0" indent="0" algn="ctr" defTabSz="1086684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500"/>
            </a:lvl1pPr>
          </a:lstStyle>
          <a:p>
            <a:pPr marL="0" marR="0" lvl="0" indent="0" algn="ctr" defTabSz="1086684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/>
              <a:t>Click Icon to Change Photo</a:t>
            </a:r>
          </a:p>
          <a:p>
            <a:endParaRPr lang="en-US"/>
          </a:p>
        </p:txBody>
      </p:sp>
      <p:sp>
        <p:nvSpPr>
          <p:cNvPr id="20" name="Рисунок 4">
            <a:extLst>
              <a:ext uri="{FF2B5EF4-FFF2-40B4-BE49-F238E27FC236}">
                <a16:creationId xmlns:a16="http://schemas.microsoft.com/office/drawing/2014/main" id="{B77BD9E3-621D-6C4F-B3D9-913E268DF3A1}"/>
              </a:ext>
            </a:extLst>
          </p:cNvPr>
          <p:cNvSpPr>
            <a:spLocks noGrp="1"/>
          </p:cNvSpPr>
          <p:nvPr>
            <p:ph type="pic" sz="quarter" idx="89" hasCustomPrompt="1"/>
          </p:nvPr>
        </p:nvSpPr>
        <p:spPr>
          <a:xfrm>
            <a:off x="8477282" y="6943090"/>
            <a:ext cx="3694398" cy="6848636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marR="0" indent="0" algn="ctr" defTabSz="1086684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500"/>
            </a:lvl1pPr>
          </a:lstStyle>
          <a:p>
            <a:pPr marL="0" marR="0" lvl="0" indent="0" algn="ctr" defTabSz="1086684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/>
              <a:t>Click Icon to Change Photo</a:t>
            </a:r>
          </a:p>
          <a:p>
            <a:endParaRPr lang="en-US"/>
          </a:p>
        </p:txBody>
      </p:sp>
      <p:sp>
        <p:nvSpPr>
          <p:cNvPr id="21" name="Рисунок 4">
            <a:extLst>
              <a:ext uri="{FF2B5EF4-FFF2-40B4-BE49-F238E27FC236}">
                <a16:creationId xmlns:a16="http://schemas.microsoft.com/office/drawing/2014/main" id="{04E76A11-720B-4143-875B-9856B63830B5}"/>
              </a:ext>
            </a:extLst>
          </p:cNvPr>
          <p:cNvSpPr>
            <a:spLocks noGrp="1"/>
          </p:cNvSpPr>
          <p:nvPr>
            <p:ph type="pic" sz="quarter" idx="90" hasCustomPrompt="1"/>
          </p:nvPr>
        </p:nvSpPr>
        <p:spPr>
          <a:xfrm>
            <a:off x="12215147" y="6943090"/>
            <a:ext cx="3694398" cy="6848636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marR="0" indent="0" algn="ctr" defTabSz="1086684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500"/>
            </a:lvl1pPr>
          </a:lstStyle>
          <a:p>
            <a:pPr marL="0" marR="0" lvl="0" indent="0" algn="ctr" defTabSz="1086684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/>
              <a:t>Click Icon to Change Photo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10359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19" grpId="0"/>
      <p:bldP spid="20" grpId="0"/>
      <p:bldP spid="21" grpId="0"/>
    </p:bld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Row Photo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Рисунок 4"/>
          <p:cNvSpPr>
            <a:spLocks noGrp="1"/>
          </p:cNvSpPr>
          <p:nvPr>
            <p:ph type="pic" sz="quarter" idx="86" hasCustomPrompt="1"/>
          </p:nvPr>
        </p:nvSpPr>
        <p:spPr>
          <a:xfrm>
            <a:off x="2" y="-25398"/>
            <a:ext cx="12192007" cy="4600576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marR="0" indent="0" algn="ctr" defTabSz="1086684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500"/>
            </a:lvl1pPr>
          </a:lstStyle>
          <a:p>
            <a:pPr marL="0" marR="0" lvl="0" indent="0" algn="ctr" defTabSz="1086684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/>
              <a:t>Click Icon to Change Photo</a:t>
            </a:r>
          </a:p>
          <a:p>
            <a:endParaRPr lang="en-US"/>
          </a:p>
        </p:txBody>
      </p:sp>
      <p:sp>
        <p:nvSpPr>
          <p:cNvPr id="29" name="Текст 7"/>
          <p:cNvSpPr>
            <a:spLocks noGrp="1"/>
          </p:cNvSpPr>
          <p:nvPr>
            <p:ph type="body" sz="quarter" idx="42" hasCustomPrompt="1"/>
          </p:nvPr>
        </p:nvSpPr>
        <p:spPr>
          <a:xfrm>
            <a:off x="14472478" y="1422402"/>
            <a:ext cx="8387686" cy="1710844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lnSpc>
                <a:spcPct val="80000"/>
              </a:lnSpc>
              <a:defRPr sz="4798" b="0" baseline="0">
                <a:solidFill>
                  <a:schemeClr val="bg2"/>
                </a:solidFill>
                <a:latin typeface="+mj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NEW ITEMS</a:t>
            </a:r>
          </a:p>
        </p:txBody>
      </p:sp>
      <p:sp>
        <p:nvSpPr>
          <p:cNvPr id="33" name="Текст 7"/>
          <p:cNvSpPr>
            <a:spLocks noGrp="1"/>
          </p:cNvSpPr>
          <p:nvPr>
            <p:ph type="body" sz="quarter" idx="75" hasCustomPrompt="1"/>
          </p:nvPr>
        </p:nvSpPr>
        <p:spPr>
          <a:xfrm>
            <a:off x="14472478" y="5994400"/>
            <a:ext cx="8387686" cy="1710844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lnSpc>
                <a:spcPct val="80000"/>
              </a:lnSpc>
              <a:defRPr sz="4798" b="0" baseline="0">
                <a:solidFill>
                  <a:schemeClr val="accent1"/>
                </a:solidFill>
                <a:latin typeface="+mj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NEW ITEMS</a:t>
            </a:r>
          </a:p>
        </p:txBody>
      </p:sp>
      <p:sp>
        <p:nvSpPr>
          <p:cNvPr id="61" name="Рисунок 4"/>
          <p:cNvSpPr>
            <a:spLocks noGrp="1"/>
          </p:cNvSpPr>
          <p:nvPr>
            <p:ph type="pic" sz="quarter" idx="87" hasCustomPrompt="1"/>
          </p:nvPr>
        </p:nvSpPr>
        <p:spPr>
          <a:xfrm>
            <a:off x="3" y="4603755"/>
            <a:ext cx="12192001" cy="4514846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marR="0" indent="0" algn="ctr" defTabSz="1086684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500"/>
            </a:lvl1pPr>
          </a:lstStyle>
          <a:p>
            <a:pPr marL="0" marR="0" lvl="0" indent="0" algn="ctr" defTabSz="1086684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/>
              <a:t>Click Icon to Change Photo</a:t>
            </a:r>
          </a:p>
          <a:p>
            <a:endParaRPr lang="en-US"/>
          </a:p>
        </p:txBody>
      </p:sp>
      <p:sp>
        <p:nvSpPr>
          <p:cNvPr id="62" name="Рисунок 4"/>
          <p:cNvSpPr>
            <a:spLocks noGrp="1"/>
          </p:cNvSpPr>
          <p:nvPr>
            <p:ph type="pic" sz="quarter" idx="88" hasCustomPrompt="1"/>
          </p:nvPr>
        </p:nvSpPr>
        <p:spPr>
          <a:xfrm>
            <a:off x="2" y="9151555"/>
            <a:ext cx="12192007" cy="4571998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marR="0" indent="0" algn="ctr" defTabSz="1086684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500"/>
            </a:lvl1pPr>
          </a:lstStyle>
          <a:p>
            <a:pPr marL="0" marR="0" lvl="0" indent="0" algn="ctr" defTabSz="1086684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/>
              <a:t>Click Icon to Change Photo</a:t>
            </a:r>
          </a:p>
          <a:p>
            <a:endParaRPr lang="en-US"/>
          </a:p>
        </p:txBody>
      </p:sp>
      <p:sp>
        <p:nvSpPr>
          <p:cNvPr id="10" name="Текст 7">
            <a:extLst>
              <a:ext uri="{FF2B5EF4-FFF2-40B4-BE49-F238E27FC236}">
                <a16:creationId xmlns:a16="http://schemas.microsoft.com/office/drawing/2014/main" id="{E102A259-5898-8344-85DB-368A545EF8CF}"/>
              </a:ext>
            </a:extLst>
          </p:cNvPr>
          <p:cNvSpPr>
            <a:spLocks noGrp="1"/>
          </p:cNvSpPr>
          <p:nvPr>
            <p:ph type="body" sz="quarter" idx="89" hasCustomPrompt="1"/>
          </p:nvPr>
        </p:nvSpPr>
        <p:spPr>
          <a:xfrm>
            <a:off x="14472478" y="10745306"/>
            <a:ext cx="8387686" cy="1710844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lnSpc>
                <a:spcPct val="80000"/>
              </a:lnSpc>
              <a:defRPr sz="4798" b="0" baseline="0">
                <a:solidFill>
                  <a:schemeClr val="accent3"/>
                </a:solidFill>
                <a:latin typeface="+mj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NEW ITEMS</a:t>
            </a:r>
          </a:p>
        </p:txBody>
      </p:sp>
    </p:spTree>
    <p:extLst>
      <p:ext uri="{BB962C8B-B14F-4D97-AF65-F5344CB8AC3E}">
        <p14:creationId xmlns:p14="http://schemas.microsoft.com/office/powerpoint/2010/main" val="412362117"/>
      </p:ext>
    </p:extLst>
  </p:cSld>
  <p:clrMapOvr>
    <a:masterClrMapping/>
  </p:clrMapOvr>
  <p:transition spd="slow">
    <p:comb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decel="10000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0" grpId="0"/>
      <p:bldP spid="29" grpId="0">
        <p:tmplLst>
          <p:tmpl>
            <p:tnLst>
              <p:par>
                <p:cTn presetID="2" presetClass="entr" presetSubtype="4" decel="100000" fill="hold" nodeType="withEffect">
                  <p:stCondLst>
                    <p:cond delay="1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2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2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3" grpId="0">
        <p:tmplLst>
          <p:tmpl>
            <p:tnLst>
              <p:par>
                <p:cTn presetID="2" presetClass="entr" presetSubtype="4" decel="100000" fill="hold" nodeType="with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61" grpId="0"/>
      <p:bldP spid="62" grpId="0"/>
      <p:bldP spid="10" grpId="0">
        <p:tmplLst>
          <p:tmpl>
            <p:tnLst>
              <p:par>
                <p:cTn presetID="2" presetClass="entr" presetSubtype="4" decel="100000" fill="hold" nodeType="withEffect">
                  <p:stCondLst>
                    <p:cond delay="1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tep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val 4">
            <a:extLst>
              <a:ext uri="{FF2B5EF4-FFF2-40B4-BE49-F238E27FC236}">
                <a16:creationId xmlns:a16="http://schemas.microsoft.com/office/drawing/2014/main" id="{22780F7E-14BA-8E49-A8BF-D4CF3F8FDBC5}"/>
              </a:ext>
            </a:extLst>
          </p:cNvPr>
          <p:cNvSpPr/>
          <p:nvPr userDrawn="1"/>
        </p:nvSpPr>
        <p:spPr>
          <a:xfrm>
            <a:off x="1342993" y="3365042"/>
            <a:ext cx="5425087" cy="5425088"/>
          </a:xfrm>
          <a:prstGeom prst="ellipse">
            <a:avLst/>
          </a:prstGeom>
          <a:noFill/>
          <a:ln w="88900">
            <a:solidFill>
              <a:srgbClr val="E1E9E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794">
              <a:solidFill>
                <a:schemeClr val="tx1"/>
              </a:solidFill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92FB1EAD-2AB5-AA45-90E7-4B340FEA7E2C}"/>
              </a:ext>
            </a:extLst>
          </p:cNvPr>
          <p:cNvSpPr/>
          <p:nvPr userDrawn="1"/>
        </p:nvSpPr>
        <p:spPr>
          <a:xfrm>
            <a:off x="6768083" y="3365042"/>
            <a:ext cx="5425087" cy="5425088"/>
          </a:xfrm>
          <a:prstGeom prst="ellipse">
            <a:avLst/>
          </a:prstGeom>
          <a:noFill/>
          <a:ln w="88900">
            <a:solidFill>
              <a:srgbClr val="E1E9E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794">
              <a:solidFill>
                <a:schemeClr val="tx1"/>
              </a:solidFill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33D75D7B-C466-B84B-94C2-0CF10FCD8F80}"/>
              </a:ext>
            </a:extLst>
          </p:cNvPr>
          <p:cNvSpPr/>
          <p:nvPr userDrawn="1"/>
        </p:nvSpPr>
        <p:spPr>
          <a:xfrm>
            <a:off x="12190836" y="3365042"/>
            <a:ext cx="5425087" cy="5425088"/>
          </a:xfrm>
          <a:prstGeom prst="ellipse">
            <a:avLst/>
          </a:prstGeom>
          <a:noFill/>
          <a:ln w="88900">
            <a:solidFill>
              <a:srgbClr val="E1E9E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794">
              <a:solidFill>
                <a:schemeClr val="tx1"/>
              </a:solidFill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91A1FE36-0985-7C4B-98B1-FFCCB18E24A5}"/>
              </a:ext>
            </a:extLst>
          </p:cNvPr>
          <p:cNvSpPr/>
          <p:nvPr userDrawn="1"/>
        </p:nvSpPr>
        <p:spPr>
          <a:xfrm>
            <a:off x="17615928" y="3365042"/>
            <a:ext cx="5425087" cy="5425088"/>
          </a:xfrm>
          <a:prstGeom prst="ellipse">
            <a:avLst/>
          </a:prstGeom>
          <a:noFill/>
          <a:ln w="88900">
            <a:solidFill>
              <a:srgbClr val="E1E9E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794"/>
          </a:p>
        </p:txBody>
      </p:sp>
      <p:sp>
        <p:nvSpPr>
          <p:cNvPr id="9" name="Arc 8">
            <a:extLst>
              <a:ext uri="{FF2B5EF4-FFF2-40B4-BE49-F238E27FC236}">
                <a16:creationId xmlns:a16="http://schemas.microsoft.com/office/drawing/2014/main" id="{18EB5CCF-6D0A-FB4F-9500-5E56D6E98AE1}"/>
              </a:ext>
            </a:extLst>
          </p:cNvPr>
          <p:cNvSpPr/>
          <p:nvPr userDrawn="1"/>
        </p:nvSpPr>
        <p:spPr>
          <a:xfrm>
            <a:off x="1345821" y="3346361"/>
            <a:ext cx="5419427" cy="5419426"/>
          </a:xfrm>
          <a:prstGeom prst="arc">
            <a:avLst>
              <a:gd name="adj1" fmla="val 10766207"/>
              <a:gd name="adj2" fmla="val 0"/>
            </a:avLst>
          </a:prstGeom>
          <a:ln w="8890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4794"/>
          </a:p>
        </p:txBody>
      </p:sp>
      <p:sp>
        <p:nvSpPr>
          <p:cNvPr id="10" name="Arc 9">
            <a:extLst>
              <a:ext uri="{FF2B5EF4-FFF2-40B4-BE49-F238E27FC236}">
                <a16:creationId xmlns:a16="http://schemas.microsoft.com/office/drawing/2014/main" id="{8D09E69B-F3E2-304D-A678-39F1C8A98719}"/>
              </a:ext>
            </a:extLst>
          </p:cNvPr>
          <p:cNvSpPr/>
          <p:nvPr userDrawn="1"/>
        </p:nvSpPr>
        <p:spPr>
          <a:xfrm rot="10800000">
            <a:off x="6770911" y="3389393"/>
            <a:ext cx="5419427" cy="5419426"/>
          </a:xfrm>
          <a:prstGeom prst="arc">
            <a:avLst>
              <a:gd name="adj1" fmla="val 10766207"/>
              <a:gd name="adj2" fmla="val 0"/>
            </a:avLst>
          </a:prstGeom>
          <a:ln w="88900" cap="rnd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4794"/>
          </a:p>
        </p:txBody>
      </p:sp>
      <p:sp>
        <p:nvSpPr>
          <p:cNvPr id="11" name="Arc 10">
            <a:extLst>
              <a:ext uri="{FF2B5EF4-FFF2-40B4-BE49-F238E27FC236}">
                <a16:creationId xmlns:a16="http://schemas.microsoft.com/office/drawing/2014/main" id="{37D1F4E7-0014-6746-AD44-B94638EDBEA9}"/>
              </a:ext>
            </a:extLst>
          </p:cNvPr>
          <p:cNvSpPr/>
          <p:nvPr userDrawn="1"/>
        </p:nvSpPr>
        <p:spPr>
          <a:xfrm>
            <a:off x="12193662" y="3346361"/>
            <a:ext cx="5419427" cy="5419426"/>
          </a:xfrm>
          <a:prstGeom prst="arc">
            <a:avLst>
              <a:gd name="adj1" fmla="val 10766207"/>
              <a:gd name="adj2" fmla="val 0"/>
            </a:avLst>
          </a:prstGeom>
          <a:ln w="8890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4794"/>
          </a:p>
        </p:txBody>
      </p:sp>
      <p:sp>
        <p:nvSpPr>
          <p:cNvPr id="12" name="Arc 11">
            <a:extLst>
              <a:ext uri="{FF2B5EF4-FFF2-40B4-BE49-F238E27FC236}">
                <a16:creationId xmlns:a16="http://schemas.microsoft.com/office/drawing/2014/main" id="{D4B4744D-4168-4E4C-A83C-2E26E17D6BD5}"/>
              </a:ext>
            </a:extLst>
          </p:cNvPr>
          <p:cNvSpPr/>
          <p:nvPr userDrawn="1"/>
        </p:nvSpPr>
        <p:spPr>
          <a:xfrm rot="10800000">
            <a:off x="17618752" y="3389393"/>
            <a:ext cx="5419427" cy="5419426"/>
          </a:xfrm>
          <a:prstGeom prst="arc">
            <a:avLst>
              <a:gd name="adj1" fmla="val 10766207"/>
              <a:gd name="adj2" fmla="val 0"/>
            </a:avLst>
          </a:prstGeom>
          <a:ln w="88900" cap="rnd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4794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1E05944-BC6B-AF4C-B1A6-522E0049645E}"/>
              </a:ext>
            </a:extLst>
          </p:cNvPr>
          <p:cNvSpPr txBox="1"/>
          <p:nvPr userDrawn="1"/>
        </p:nvSpPr>
        <p:spPr>
          <a:xfrm>
            <a:off x="2686418" y="5628889"/>
            <a:ext cx="2738249" cy="9537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5598" b="1">
                <a:solidFill>
                  <a:schemeClr val="bg1"/>
                </a:solidFill>
              </a:rPr>
              <a:t>Step 01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F91CEA4-E78F-5E4A-A0EA-DF5BC9D379C4}"/>
              </a:ext>
            </a:extLst>
          </p:cNvPr>
          <p:cNvSpPr txBox="1"/>
          <p:nvPr userDrawn="1"/>
        </p:nvSpPr>
        <p:spPr>
          <a:xfrm>
            <a:off x="1090858" y="9647288"/>
            <a:ext cx="5674390" cy="13934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3998">
                <a:solidFill>
                  <a:schemeClr val="bg1"/>
                </a:solidFill>
              </a:rPr>
              <a:t>Involve the audience and motivate them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26E816E-AE03-8A4C-9BAB-2728DD64C914}"/>
              </a:ext>
            </a:extLst>
          </p:cNvPr>
          <p:cNvSpPr txBox="1"/>
          <p:nvPr userDrawn="1"/>
        </p:nvSpPr>
        <p:spPr>
          <a:xfrm>
            <a:off x="8111506" y="5628889"/>
            <a:ext cx="2738249" cy="9537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5598" b="1">
                <a:solidFill>
                  <a:schemeClr val="bg1"/>
                </a:solidFill>
              </a:rPr>
              <a:t>Step 02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7D6AE0A-CD66-CF44-AFAA-AA50992AF2C2}"/>
              </a:ext>
            </a:extLst>
          </p:cNvPr>
          <p:cNvSpPr txBox="1"/>
          <p:nvPr userDrawn="1"/>
        </p:nvSpPr>
        <p:spPr>
          <a:xfrm>
            <a:off x="6515947" y="9647288"/>
            <a:ext cx="5674390" cy="13934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3998">
                <a:solidFill>
                  <a:schemeClr val="bg1"/>
                </a:solidFill>
              </a:rPr>
              <a:t>Involve the audience and motivate them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772C1AD-8395-C140-8058-2EE2956849B9}"/>
              </a:ext>
            </a:extLst>
          </p:cNvPr>
          <p:cNvSpPr txBox="1"/>
          <p:nvPr userDrawn="1"/>
        </p:nvSpPr>
        <p:spPr>
          <a:xfrm>
            <a:off x="13534257" y="5628889"/>
            <a:ext cx="2738249" cy="9537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5598" b="1">
                <a:solidFill>
                  <a:schemeClr val="bg1"/>
                </a:solidFill>
              </a:rPr>
              <a:t>Step 03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39D9995-D460-EA40-A0DE-38D420CC1619}"/>
              </a:ext>
            </a:extLst>
          </p:cNvPr>
          <p:cNvSpPr txBox="1"/>
          <p:nvPr userDrawn="1"/>
        </p:nvSpPr>
        <p:spPr>
          <a:xfrm>
            <a:off x="11938699" y="9647288"/>
            <a:ext cx="5674390" cy="13934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3998">
                <a:solidFill>
                  <a:schemeClr val="bg1"/>
                </a:solidFill>
              </a:rPr>
              <a:t>Involve the audience and motivate them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5976319-08C3-794E-91B9-34065101689B}"/>
              </a:ext>
            </a:extLst>
          </p:cNvPr>
          <p:cNvSpPr txBox="1"/>
          <p:nvPr userDrawn="1"/>
        </p:nvSpPr>
        <p:spPr>
          <a:xfrm>
            <a:off x="18959349" y="5628889"/>
            <a:ext cx="2738249" cy="9537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5598" b="1">
                <a:solidFill>
                  <a:schemeClr val="bg1"/>
                </a:solidFill>
              </a:rPr>
              <a:t>Step 04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15A1571-34BA-F941-BF9F-71AE225C4EDF}"/>
              </a:ext>
            </a:extLst>
          </p:cNvPr>
          <p:cNvSpPr txBox="1"/>
          <p:nvPr userDrawn="1"/>
        </p:nvSpPr>
        <p:spPr>
          <a:xfrm>
            <a:off x="17363792" y="9647288"/>
            <a:ext cx="5674390" cy="13934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3998">
                <a:solidFill>
                  <a:schemeClr val="bg1"/>
                </a:solidFill>
              </a:rPr>
              <a:t>Involve the audience and motivate them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BECDF45-EFC1-8C4E-A937-105820B684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6401" y="1220904"/>
            <a:ext cx="21031201" cy="148630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60387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Step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BECDF45-EFC1-8C4E-A937-105820B684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6401" y="10821266"/>
            <a:ext cx="21031201" cy="148630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4270B783-4DF7-FE4D-8E34-A74A81811F13}"/>
              </a:ext>
            </a:extLst>
          </p:cNvPr>
          <p:cNvGrpSpPr/>
          <p:nvPr userDrawn="1"/>
        </p:nvGrpSpPr>
        <p:grpSpPr>
          <a:xfrm>
            <a:off x="15567155" y="5729380"/>
            <a:ext cx="1207008" cy="1207008"/>
            <a:chOff x="4040238" y="1899265"/>
            <a:chExt cx="603504" cy="603504"/>
          </a:xfrm>
        </p:grpSpPr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5CC7CFDA-5097-AC4C-9922-EB8EC3B7355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040238" y="1899265"/>
              <a:ext cx="603504" cy="603504"/>
            </a:xfrm>
            <a:prstGeom prst="ellipse">
              <a:avLst/>
            </a:prstGeom>
            <a:noFill/>
            <a:ln w="114300">
              <a:solidFill>
                <a:schemeClr val="bg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>
                <a:latin typeface="Open Sans Light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87EF06CD-382F-4B4E-B02C-9E8B4EA3D3B3}"/>
                </a:ext>
              </a:extLst>
            </p:cNvPr>
            <p:cNvSpPr txBox="1"/>
            <p:nvPr/>
          </p:nvSpPr>
          <p:spPr>
            <a:xfrm>
              <a:off x="4040238" y="2070212"/>
              <a:ext cx="603504" cy="26161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2800" b="1">
                  <a:solidFill>
                    <a:schemeClr val="bg1"/>
                  </a:solidFill>
                </a:rPr>
                <a:t>04</a:t>
              </a:r>
            </a:p>
          </p:txBody>
        </p:sp>
      </p:grpSp>
      <p:sp>
        <p:nvSpPr>
          <p:cNvPr id="24" name="Line 5">
            <a:extLst>
              <a:ext uri="{FF2B5EF4-FFF2-40B4-BE49-F238E27FC236}">
                <a16:creationId xmlns:a16="http://schemas.microsoft.com/office/drawing/2014/main" id="{6E274D75-7561-684D-AAE5-BA6FAD869952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1804565" y="5"/>
            <a:ext cx="2" cy="6662986"/>
          </a:xfrm>
          <a:prstGeom prst="line">
            <a:avLst/>
          </a:prstGeom>
          <a:noFill/>
          <a:ln w="1143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82784" tIns="91392" rIns="182784" bIns="91392" numCol="1" anchor="t" anchorCtr="0" compatLnSpc="1">
            <a:prstTxWarp prst="textNoShape">
              <a:avLst/>
            </a:prstTxWarp>
          </a:bodyPr>
          <a:lstStyle/>
          <a:p>
            <a:endParaRPr lang="en-US" sz="4794"/>
          </a:p>
        </p:txBody>
      </p:sp>
      <p:sp>
        <p:nvSpPr>
          <p:cNvPr id="25" name="Freeform 6">
            <a:extLst>
              <a:ext uri="{FF2B5EF4-FFF2-40B4-BE49-F238E27FC236}">
                <a16:creationId xmlns:a16="http://schemas.microsoft.com/office/drawing/2014/main" id="{DC9DEA8B-05F5-1945-A9BA-14753C45955D}"/>
              </a:ext>
            </a:extLst>
          </p:cNvPr>
          <p:cNvSpPr>
            <a:spLocks/>
          </p:cNvSpPr>
          <p:nvPr userDrawn="1"/>
        </p:nvSpPr>
        <p:spPr bwMode="auto">
          <a:xfrm>
            <a:off x="7952570" y="0"/>
            <a:ext cx="3460835" cy="6156340"/>
          </a:xfrm>
          <a:custGeom>
            <a:avLst/>
            <a:gdLst>
              <a:gd name="T0" fmla="*/ 929 w 929"/>
              <a:gd name="T1" fmla="*/ 0 h 1388"/>
              <a:gd name="T2" fmla="*/ 929 w 929"/>
              <a:gd name="T3" fmla="*/ 1082 h 1388"/>
              <a:gd name="T4" fmla="*/ 0 w 929"/>
              <a:gd name="T5" fmla="*/ 1388 h 1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929" h="1388">
                <a:moveTo>
                  <a:pt x="929" y="0"/>
                </a:moveTo>
                <a:lnTo>
                  <a:pt x="929" y="1082"/>
                </a:lnTo>
                <a:lnTo>
                  <a:pt x="0" y="1388"/>
                </a:lnTo>
              </a:path>
            </a:pathLst>
          </a:custGeom>
          <a:noFill/>
          <a:ln w="114300" cap="flat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82784" tIns="91392" rIns="182784" bIns="91392" numCol="1" anchor="t" anchorCtr="0" compatLnSpc="1">
            <a:prstTxWarp prst="textNoShape">
              <a:avLst/>
            </a:prstTxWarp>
          </a:bodyPr>
          <a:lstStyle/>
          <a:p>
            <a:endParaRPr lang="en-US" sz="4794"/>
          </a:p>
        </p:txBody>
      </p:sp>
      <p:sp>
        <p:nvSpPr>
          <p:cNvPr id="26" name="Freeform 7">
            <a:extLst>
              <a:ext uri="{FF2B5EF4-FFF2-40B4-BE49-F238E27FC236}">
                <a16:creationId xmlns:a16="http://schemas.microsoft.com/office/drawing/2014/main" id="{D40E9CDA-1ACA-E041-B812-236FD98C20D7}"/>
              </a:ext>
            </a:extLst>
          </p:cNvPr>
          <p:cNvSpPr>
            <a:spLocks/>
          </p:cNvSpPr>
          <p:nvPr userDrawn="1"/>
        </p:nvSpPr>
        <p:spPr bwMode="auto">
          <a:xfrm>
            <a:off x="9248986" y="0"/>
            <a:ext cx="1776987" cy="4237792"/>
          </a:xfrm>
          <a:custGeom>
            <a:avLst/>
            <a:gdLst>
              <a:gd name="T0" fmla="*/ 477 w 477"/>
              <a:gd name="T1" fmla="*/ 0 h 873"/>
              <a:gd name="T2" fmla="*/ 477 w 477"/>
              <a:gd name="T3" fmla="*/ 718 h 873"/>
              <a:gd name="T4" fmla="*/ 0 w 477"/>
              <a:gd name="T5" fmla="*/ 873 h 8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477" h="873">
                <a:moveTo>
                  <a:pt x="477" y="0"/>
                </a:moveTo>
                <a:lnTo>
                  <a:pt x="477" y="718"/>
                </a:lnTo>
                <a:lnTo>
                  <a:pt x="0" y="873"/>
                </a:lnTo>
              </a:path>
            </a:pathLst>
          </a:custGeom>
          <a:noFill/>
          <a:ln w="1143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82784" tIns="91392" rIns="182784" bIns="91392" numCol="1" anchor="t" anchorCtr="0" compatLnSpc="1">
            <a:prstTxWarp prst="textNoShape">
              <a:avLst/>
            </a:prstTxWarp>
          </a:bodyPr>
          <a:lstStyle/>
          <a:p>
            <a:endParaRPr lang="en-US" sz="4794"/>
          </a:p>
        </p:txBody>
      </p:sp>
      <p:sp>
        <p:nvSpPr>
          <p:cNvPr id="27" name="Freeform 8">
            <a:extLst>
              <a:ext uri="{FF2B5EF4-FFF2-40B4-BE49-F238E27FC236}">
                <a16:creationId xmlns:a16="http://schemas.microsoft.com/office/drawing/2014/main" id="{7762AB39-F508-D344-8C2F-AB8FD7A1D5F2}"/>
              </a:ext>
            </a:extLst>
          </p:cNvPr>
          <p:cNvSpPr>
            <a:spLocks/>
          </p:cNvSpPr>
          <p:nvPr userDrawn="1"/>
        </p:nvSpPr>
        <p:spPr bwMode="auto">
          <a:xfrm>
            <a:off x="12192003" y="0"/>
            <a:ext cx="3464562" cy="6156340"/>
          </a:xfrm>
          <a:custGeom>
            <a:avLst/>
            <a:gdLst>
              <a:gd name="T0" fmla="*/ 0 w 930"/>
              <a:gd name="T1" fmla="*/ 0 h 1388"/>
              <a:gd name="T2" fmla="*/ 0 w 930"/>
              <a:gd name="T3" fmla="*/ 1082 h 1388"/>
              <a:gd name="T4" fmla="*/ 930 w 930"/>
              <a:gd name="T5" fmla="*/ 1388 h 1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930" h="1388">
                <a:moveTo>
                  <a:pt x="0" y="0"/>
                </a:moveTo>
                <a:lnTo>
                  <a:pt x="0" y="1082"/>
                </a:lnTo>
                <a:lnTo>
                  <a:pt x="930" y="1388"/>
                </a:lnTo>
              </a:path>
            </a:pathLst>
          </a:custGeom>
          <a:noFill/>
          <a:ln w="114300" cap="flat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82784" tIns="91392" rIns="182784" bIns="91392" numCol="1" anchor="t" anchorCtr="0" compatLnSpc="1">
            <a:prstTxWarp prst="textNoShape">
              <a:avLst/>
            </a:prstTxWarp>
          </a:bodyPr>
          <a:lstStyle/>
          <a:p>
            <a:endParaRPr lang="en-US" sz="4794"/>
          </a:p>
        </p:txBody>
      </p:sp>
      <p:sp>
        <p:nvSpPr>
          <p:cNvPr id="28" name="Freeform 9">
            <a:extLst>
              <a:ext uri="{FF2B5EF4-FFF2-40B4-BE49-F238E27FC236}">
                <a16:creationId xmlns:a16="http://schemas.microsoft.com/office/drawing/2014/main" id="{9CFD4C92-9127-A049-99CB-792647B43E12}"/>
              </a:ext>
            </a:extLst>
          </p:cNvPr>
          <p:cNvSpPr>
            <a:spLocks/>
          </p:cNvSpPr>
          <p:nvPr userDrawn="1"/>
        </p:nvSpPr>
        <p:spPr bwMode="auto">
          <a:xfrm>
            <a:off x="12583161" y="0"/>
            <a:ext cx="1776987" cy="4237792"/>
          </a:xfrm>
          <a:custGeom>
            <a:avLst/>
            <a:gdLst>
              <a:gd name="T0" fmla="*/ 0 w 477"/>
              <a:gd name="T1" fmla="*/ 0 h 873"/>
              <a:gd name="T2" fmla="*/ 0 w 477"/>
              <a:gd name="T3" fmla="*/ 718 h 873"/>
              <a:gd name="T4" fmla="*/ 477 w 477"/>
              <a:gd name="T5" fmla="*/ 873 h 8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477" h="873">
                <a:moveTo>
                  <a:pt x="0" y="0"/>
                </a:moveTo>
                <a:lnTo>
                  <a:pt x="0" y="718"/>
                </a:lnTo>
                <a:lnTo>
                  <a:pt x="477" y="873"/>
                </a:lnTo>
              </a:path>
            </a:pathLst>
          </a:custGeom>
          <a:noFill/>
          <a:ln w="1143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82784" tIns="91392" rIns="182784" bIns="91392" numCol="1" anchor="t" anchorCtr="0" compatLnSpc="1">
            <a:prstTxWarp prst="textNoShape">
              <a:avLst/>
            </a:prstTxWarp>
          </a:bodyPr>
          <a:lstStyle/>
          <a:p>
            <a:endParaRPr lang="en-US" sz="4794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8FADF14-32D5-FE4C-A88F-6D1272AEE35B}"/>
              </a:ext>
            </a:extLst>
          </p:cNvPr>
          <p:cNvSpPr txBox="1"/>
          <p:nvPr userDrawn="1"/>
        </p:nvSpPr>
        <p:spPr>
          <a:xfrm>
            <a:off x="17544395" y="6863199"/>
            <a:ext cx="2268570" cy="8306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798">
                <a:solidFill>
                  <a:schemeClr val="bg1"/>
                </a:solidFill>
              </a:rPr>
              <a:t>Arial 24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6E582CE6-3925-8F4A-831D-0E0B9994CE4C}"/>
              </a:ext>
            </a:extLst>
          </p:cNvPr>
          <p:cNvSpPr txBox="1"/>
          <p:nvPr userDrawn="1"/>
        </p:nvSpPr>
        <p:spPr>
          <a:xfrm>
            <a:off x="3797427" y="6851607"/>
            <a:ext cx="2268633" cy="15690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4798">
                <a:solidFill>
                  <a:schemeClr val="bg1"/>
                </a:solidFill>
              </a:rPr>
              <a:t>Arial 24</a:t>
            </a:r>
          </a:p>
          <a:p>
            <a:pPr algn="r"/>
            <a:endParaRPr lang="en-US" sz="4798">
              <a:solidFill>
                <a:schemeClr val="bg1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A4829DAB-EC0F-9649-B059-D3888AB1651A}"/>
              </a:ext>
            </a:extLst>
          </p:cNvPr>
          <p:cNvSpPr txBox="1"/>
          <p:nvPr userDrawn="1"/>
        </p:nvSpPr>
        <p:spPr>
          <a:xfrm>
            <a:off x="16976311" y="3114959"/>
            <a:ext cx="2268570" cy="8306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798">
                <a:solidFill>
                  <a:schemeClr val="bg1"/>
                </a:solidFill>
              </a:rPr>
              <a:t>Arial 24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A120266D-C9E3-F745-AD6D-12D7266276F5}"/>
              </a:ext>
            </a:extLst>
          </p:cNvPr>
          <p:cNvSpPr txBox="1"/>
          <p:nvPr userDrawn="1"/>
        </p:nvSpPr>
        <p:spPr>
          <a:xfrm>
            <a:off x="4584360" y="3348189"/>
            <a:ext cx="2268570" cy="8306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4798">
                <a:solidFill>
                  <a:schemeClr val="bg1"/>
                </a:solidFill>
              </a:rPr>
              <a:t>Arial 24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84848621-7C07-D34A-BE33-1EF83FAF6400}"/>
              </a:ext>
            </a:extLst>
          </p:cNvPr>
          <p:cNvSpPr txBox="1"/>
          <p:nvPr userDrawn="1"/>
        </p:nvSpPr>
        <p:spPr>
          <a:xfrm>
            <a:off x="10646435" y="8674615"/>
            <a:ext cx="2268570" cy="8306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798">
                <a:solidFill>
                  <a:schemeClr val="bg1"/>
                </a:solidFill>
              </a:rPr>
              <a:t>Arial 24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620E319D-E753-7D4E-98E3-9BF343E8C288}"/>
              </a:ext>
            </a:extLst>
          </p:cNvPr>
          <p:cNvGrpSpPr/>
          <p:nvPr userDrawn="1"/>
        </p:nvGrpSpPr>
        <p:grpSpPr>
          <a:xfrm>
            <a:off x="8006578" y="3748416"/>
            <a:ext cx="1207008" cy="1207008"/>
            <a:chOff x="4040238" y="1899265"/>
            <a:chExt cx="603504" cy="603504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3FE3ABF3-1F22-A049-B5F3-B22584F1B25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040238" y="1899265"/>
              <a:ext cx="603504" cy="603504"/>
            </a:xfrm>
            <a:prstGeom prst="ellipse">
              <a:avLst/>
            </a:prstGeom>
            <a:noFill/>
            <a:ln w="1143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>
                <a:latin typeface="Open Sans Light"/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A7D760A8-68CA-9B4C-9D16-119E376E76AB}"/>
                </a:ext>
              </a:extLst>
            </p:cNvPr>
            <p:cNvSpPr txBox="1"/>
            <p:nvPr/>
          </p:nvSpPr>
          <p:spPr>
            <a:xfrm>
              <a:off x="4040238" y="2070212"/>
              <a:ext cx="603504" cy="26161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2800" b="1">
                  <a:solidFill>
                    <a:schemeClr val="bg1"/>
                  </a:solidFill>
                </a:rPr>
                <a:t>01</a:t>
              </a: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AFF1536A-772B-9C46-8515-1804B11A4C01}"/>
              </a:ext>
            </a:extLst>
          </p:cNvPr>
          <p:cNvGrpSpPr/>
          <p:nvPr userDrawn="1"/>
        </p:nvGrpSpPr>
        <p:grpSpPr>
          <a:xfrm>
            <a:off x="14360147" y="3748416"/>
            <a:ext cx="1207008" cy="1207008"/>
            <a:chOff x="4040238" y="1899265"/>
            <a:chExt cx="603504" cy="603504"/>
          </a:xfrm>
        </p:grpSpPr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EDD558BC-3A52-6846-A716-92F6A446EF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040238" y="1899265"/>
              <a:ext cx="603504" cy="603504"/>
            </a:xfrm>
            <a:prstGeom prst="ellipse">
              <a:avLst/>
            </a:prstGeom>
            <a:noFill/>
            <a:ln w="1143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>
                <a:latin typeface="Open Sans Light"/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6860F66A-9728-1D49-BF2F-01958F68063E}"/>
                </a:ext>
              </a:extLst>
            </p:cNvPr>
            <p:cNvSpPr txBox="1"/>
            <p:nvPr/>
          </p:nvSpPr>
          <p:spPr>
            <a:xfrm>
              <a:off x="4040238" y="2070212"/>
              <a:ext cx="603504" cy="26161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2800" b="1">
                  <a:solidFill>
                    <a:schemeClr val="bg1"/>
                  </a:solidFill>
                </a:rPr>
                <a:t>05</a:t>
              </a: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DB7D0BFE-E1C3-E346-A7F0-CCCA81DDF09A}"/>
              </a:ext>
            </a:extLst>
          </p:cNvPr>
          <p:cNvGrpSpPr/>
          <p:nvPr userDrawn="1"/>
        </p:nvGrpSpPr>
        <p:grpSpPr>
          <a:xfrm>
            <a:off x="6719289" y="5732426"/>
            <a:ext cx="1207008" cy="1207008"/>
            <a:chOff x="4040238" y="1899265"/>
            <a:chExt cx="603504" cy="603504"/>
          </a:xfrm>
        </p:grpSpPr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C48C32FD-81B7-F446-898A-EB03B857209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040238" y="1899265"/>
              <a:ext cx="603504" cy="603504"/>
            </a:xfrm>
            <a:prstGeom prst="ellipse">
              <a:avLst/>
            </a:prstGeom>
            <a:noFill/>
            <a:ln w="114300">
              <a:solidFill>
                <a:schemeClr val="bg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>
                <a:latin typeface="Open Sans Light"/>
              </a:endParaRP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DAE85853-2B7C-134C-AF25-736DD69D88A0}"/>
                </a:ext>
              </a:extLst>
            </p:cNvPr>
            <p:cNvSpPr txBox="1"/>
            <p:nvPr/>
          </p:nvSpPr>
          <p:spPr>
            <a:xfrm>
              <a:off x="4040238" y="2070212"/>
              <a:ext cx="603504" cy="26161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2800" b="1">
                  <a:solidFill>
                    <a:schemeClr val="bg1"/>
                  </a:solidFill>
                </a:rPr>
                <a:t>02</a:t>
              </a: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E4E268FA-2CD9-454F-AD41-89E4EF37A50C}"/>
              </a:ext>
            </a:extLst>
          </p:cNvPr>
          <p:cNvGrpSpPr/>
          <p:nvPr userDrawn="1"/>
        </p:nvGrpSpPr>
        <p:grpSpPr>
          <a:xfrm>
            <a:off x="11201722" y="6721356"/>
            <a:ext cx="1207008" cy="1207008"/>
            <a:chOff x="5600861" y="3360678"/>
            <a:chExt cx="603504" cy="603504"/>
          </a:xfrm>
        </p:grpSpPr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FB78B9EB-3CBF-1C41-BDB3-CBED7172979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600861" y="3360678"/>
              <a:ext cx="603504" cy="603504"/>
            </a:xfrm>
            <a:prstGeom prst="ellipse">
              <a:avLst/>
            </a:prstGeom>
            <a:noFill/>
            <a:ln w="11430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>
                <a:latin typeface="Open Sans Light"/>
              </a:endParaRP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17404141-F764-2940-B644-CF6B07EBB191}"/>
                </a:ext>
              </a:extLst>
            </p:cNvPr>
            <p:cNvSpPr txBox="1"/>
            <p:nvPr/>
          </p:nvSpPr>
          <p:spPr>
            <a:xfrm>
              <a:off x="5600861" y="3531625"/>
              <a:ext cx="603504" cy="26161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2800" b="1">
                  <a:solidFill>
                    <a:schemeClr val="bg1"/>
                  </a:solidFill>
                </a:rPr>
                <a:t>03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41810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BB6A2E89-D25D-CC4D-8670-915F29B8C960}"/>
              </a:ext>
            </a:extLst>
          </p:cNvPr>
          <p:cNvCxnSpPr/>
          <p:nvPr userDrawn="1"/>
        </p:nvCxnSpPr>
        <p:spPr>
          <a:xfrm flipV="1">
            <a:off x="6879840" y="8761490"/>
            <a:ext cx="0" cy="744568"/>
          </a:xfrm>
          <a:prstGeom prst="line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7" name="Oval 46">
            <a:extLst>
              <a:ext uri="{FF2B5EF4-FFF2-40B4-BE49-F238E27FC236}">
                <a16:creationId xmlns:a16="http://schemas.microsoft.com/office/drawing/2014/main" id="{A270986A-336D-CB4B-9477-803D75BEB89D}"/>
              </a:ext>
            </a:extLst>
          </p:cNvPr>
          <p:cNvSpPr/>
          <p:nvPr userDrawn="1"/>
        </p:nvSpPr>
        <p:spPr>
          <a:xfrm>
            <a:off x="5904138" y="9847539"/>
            <a:ext cx="1951404" cy="1985686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182784" rIns="0" bIns="0" rtlCol="0" anchor="ctr"/>
          <a:lstStyle/>
          <a:p>
            <a:pPr algn="ctr"/>
            <a:endParaRPr lang="id-ID" sz="6396">
              <a:solidFill>
                <a:schemeClr val="bg2"/>
              </a:solidFill>
              <a:latin typeface="Questrial" panose="02000000000000000000" pitchFamily="50" charset="0"/>
            </a:endParaRP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83EBF0DF-9E15-3F42-A4C9-2E63F38D6094}"/>
              </a:ext>
            </a:extLst>
          </p:cNvPr>
          <p:cNvCxnSpPr/>
          <p:nvPr userDrawn="1"/>
        </p:nvCxnSpPr>
        <p:spPr>
          <a:xfrm flipV="1">
            <a:off x="21045599" y="8761490"/>
            <a:ext cx="0" cy="744568"/>
          </a:xfrm>
          <a:prstGeom prst="line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9" name="Oval 48">
            <a:extLst>
              <a:ext uri="{FF2B5EF4-FFF2-40B4-BE49-F238E27FC236}">
                <a16:creationId xmlns:a16="http://schemas.microsoft.com/office/drawing/2014/main" id="{10CE34E2-B7E7-BB40-A9FF-22100238E5A2}"/>
              </a:ext>
            </a:extLst>
          </p:cNvPr>
          <p:cNvSpPr/>
          <p:nvPr userDrawn="1"/>
        </p:nvSpPr>
        <p:spPr>
          <a:xfrm>
            <a:off x="20069897" y="9847539"/>
            <a:ext cx="1951404" cy="1985686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accent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182784" rIns="0" bIns="0" rtlCol="0" anchor="ctr"/>
          <a:lstStyle/>
          <a:p>
            <a:pPr algn="ctr"/>
            <a:endParaRPr lang="id-ID" sz="6396">
              <a:solidFill>
                <a:schemeClr val="bg2"/>
              </a:solidFill>
              <a:latin typeface="Questrial" panose="02000000000000000000" pitchFamily="50" charset="0"/>
            </a:endParaRPr>
          </a:p>
        </p:txBody>
      </p:sp>
      <p:sp>
        <p:nvSpPr>
          <p:cNvPr id="50" name="Chevron 62">
            <a:extLst>
              <a:ext uri="{FF2B5EF4-FFF2-40B4-BE49-F238E27FC236}">
                <a16:creationId xmlns:a16="http://schemas.microsoft.com/office/drawing/2014/main" id="{32EC14E2-9A78-DF4B-B1FC-6A1DDC2139CA}"/>
              </a:ext>
            </a:extLst>
          </p:cNvPr>
          <p:cNvSpPr/>
          <p:nvPr userDrawn="1"/>
        </p:nvSpPr>
        <p:spPr>
          <a:xfrm>
            <a:off x="19320280" y="7615263"/>
            <a:ext cx="3450641" cy="849262"/>
          </a:xfrm>
          <a:prstGeom prst="chevron">
            <a:avLst/>
          </a:prstGeom>
          <a:solidFill>
            <a:schemeClr val="bg2"/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3200">
                <a:solidFill>
                  <a:srgbClr val="FFFFFF"/>
                </a:solidFill>
                <a:latin typeface="+mj-lt"/>
                <a:ea typeface="Questrial" panose="02000000000000000000" pitchFamily="2" charset="0"/>
                <a:cs typeface="Montserrat" panose="02000000000000000000" pitchFamily="2" charset="0"/>
              </a:rPr>
              <a:t>2017</a:t>
            </a:r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E695A626-3EFA-A74E-8FEF-911EB702B0FB}"/>
              </a:ext>
            </a:extLst>
          </p:cNvPr>
          <p:cNvCxnSpPr/>
          <p:nvPr userDrawn="1"/>
        </p:nvCxnSpPr>
        <p:spPr>
          <a:xfrm flipV="1">
            <a:off x="13962718" y="8761490"/>
            <a:ext cx="0" cy="744568"/>
          </a:xfrm>
          <a:prstGeom prst="line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2" name="Oval 51">
            <a:extLst>
              <a:ext uri="{FF2B5EF4-FFF2-40B4-BE49-F238E27FC236}">
                <a16:creationId xmlns:a16="http://schemas.microsoft.com/office/drawing/2014/main" id="{51DFCA96-3CBA-374E-BAE6-D0F2689B7BBD}"/>
              </a:ext>
            </a:extLst>
          </p:cNvPr>
          <p:cNvSpPr/>
          <p:nvPr userDrawn="1"/>
        </p:nvSpPr>
        <p:spPr>
          <a:xfrm>
            <a:off x="12987016" y="9847539"/>
            <a:ext cx="1951404" cy="1985686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182784" rIns="0" bIns="0" rtlCol="0" anchor="ctr"/>
          <a:lstStyle/>
          <a:p>
            <a:pPr algn="ctr"/>
            <a:endParaRPr lang="id-ID" sz="6396">
              <a:solidFill>
                <a:schemeClr val="bg2"/>
              </a:solidFill>
              <a:latin typeface="Questrial" panose="02000000000000000000" pitchFamily="50" charset="0"/>
            </a:endParaRPr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4959900B-E3D6-154A-853E-F8CC65C2BD7F}"/>
              </a:ext>
            </a:extLst>
          </p:cNvPr>
          <p:cNvCxnSpPr/>
          <p:nvPr userDrawn="1"/>
        </p:nvCxnSpPr>
        <p:spPr>
          <a:xfrm flipV="1">
            <a:off x="3338399" y="6570712"/>
            <a:ext cx="0" cy="744568"/>
          </a:xfrm>
          <a:prstGeom prst="line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4" name="Oval 53">
            <a:extLst>
              <a:ext uri="{FF2B5EF4-FFF2-40B4-BE49-F238E27FC236}">
                <a16:creationId xmlns:a16="http://schemas.microsoft.com/office/drawing/2014/main" id="{61708D4F-20B8-3E4D-940A-056EB94EF1E4}"/>
              </a:ext>
            </a:extLst>
          </p:cNvPr>
          <p:cNvSpPr/>
          <p:nvPr userDrawn="1"/>
        </p:nvSpPr>
        <p:spPr>
          <a:xfrm>
            <a:off x="2362697" y="4240545"/>
            <a:ext cx="1951404" cy="1985686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182784" rIns="0" bIns="0" rtlCol="0" anchor="ctr"/>
          <a:lstStyle/>
          <a:p>
            <a:pPr algn="ctr"/>
            <a:endParaRPr lang="id-ID" sz="6396">
              <a:solidFill>
                <a:schemeClr val="bg2"/>
              </a:solidFill>
              <a:latin typeface="Questrial" panose="02000000000000000000" pitchFamily="50" charset="0"/>
            </a:endParaRPr>
          </a:p>
        </p:txBody>
      </p: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719834D4-CA3C-1443-B83C-877AE343E38D}"/>
              </a:ext>
            </a:extLst>
          </p:cNvPr>
          <p:cNvCxnSpPr/>
          <p:nvPr userDrawn="1"/>
        </p:nvCxnSpPr>
        <p:spPr>
          <a:xfrm flipV="1">
            <a:off x="17504158" y="6570712"/>
            <a:ext cx="0" cy="744568"/>
          </a:xfrm>
          <a:prstGeom prst="line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6" name="Oval 55">
            <a:extLst>
              <a:ext uri="{FF2B5EF4-FFF2-40B4-BE49-F238E27FC236}">
                <a16:creationId xmlns:a16="http://schemas.microsoft.com/office/drawing/2014/main" id="{2EFE9854-D393-9340-882F-01A84E08A2ED}"/>
              </a:ext>
            </a:extLst>
          </p:cNvPr>
          <p:cNvSpPr/>
          <p:nvPr userDrawn="1"/>
        </p:nvSpPr>
        <p:spPr>
          <a:xfrm>
            <a:off x="16528456" y="4240545"/>
            <a:ext cx="1951404" cy="1985686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accent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182784" rIns="0" bIns="0" rtlCol="0" anchor="ctr"/>
          <a:lstStyle/>
          <a:p>
            <a:pPr algn="ctr"/>
            <a:endParaRPr lang="id-ID" sz="6396">
              <a:solidFill>
                <a:schemeClr val="bg2"/>
              </a:solidFill>
              <a:latin typeface="Questrial" panose="02000000000000000000" pitchFamily="50" charset="0"/>
            </a:endParaRPr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934A71BE-295C-6A47-B894-3E91A66B7240}"/>
              </a:ext>
            </a:extLst>
          </p:cNvPr>
          <p:cNvCxnSpPr/>
          <p:nvPr userDrawn="1"/>
        </p:nvCxnSpPr>
        <p:spPr>
          <a:xfrm flipV="1">
            <a:off x="10421280" y="6570712"/>
            <a:ext cx="0" cy="744568"/>
          </a:xfrm>
          <a:prstGeom prst="line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8" name="Oval 57">
            <a:extLst>
              <a:ext uri="{FF2B5EF4-FFF2-40B4-BE49-F238E27FC236}">
                <a16:creationId xmlns:a16="http://schemas.microsoft.com/office/drawing/2014/main" id="{8756D37D-4BC0-A747-BDC2-56BB04C3F24D}"/>
              </a:ext>
            </a:extLst>
          </p:cNvPr>
          <p:cNvSpPr/>
          <p:nvPr userDrawn="1"/>
        </p:nvSpPr>
        <p:spPr>
          <a:xfrm>
            <a:off x="9445578" y="4240545"/>
            <a:ext cx="1951404" cy="1985686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182784" rIns="0" bIns="0" rtlCol="0" anchor="ctr"/>
          <a:lstStyle/>
          <a:p>
            <a:pPr algn="ctr"/>
            <a:endParaRPr lang="id-ID" sz="6396">
              <a:solidFill>
                <a:schemeClr val="bg2"/>
              </a:solidFill>
              <a:latin typeface="Questrial" panose="02000000000000000000" pitchFamily="50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20359BDE-A876-6E49-8686-6C00BE7739EC}"/>
              </a:ext>
            </a:extLst>
          </p:cNvPr>
          <p:cNvSpPr txBox="1"/>
          <p:nvPr userDrawn="1"/>
        </p:nvSpPr>
        <p:spPr>
          <a:xfrm>
            <a:off x="4584099" y="4895838"/>
            <a:ext cx="2066591" cy="7075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998">
                <a:solidFill>
                  <a:schemeClr val="bg1"/>
                </a:solidFill>
              </a:rPr>
              <a:t>Arial 20 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CCF29958-926C-FE4D-8E13-75E0A0C51770}"/>
              </a:ext>
            </a:extLst>
          </p:cNvPr>
          <p:cNvSpPr txBox="1"/>
          <p:nvPr userDrawn="1"/>
        </p:nvSpPr>
        <p:spPr>
          <a:xfrm>
            <a:off x="11666977" y="4895838"/>
            <a:ext cx="2066591" cy="7075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998">
                <a:solidFill>
                  <a:schemeClr val="bg1"/>
                </a:solidFill>
              </a:rPr>
              <a:t>Arial 20 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232BE33C-7D85-A24D-B420-59D3A9D45F5B}"/>
              </a:ext>
            </a:extLst>
          </p:cNvPr>
          <p:cNvSpPr txBox="1"/>
          <p:nvPr userDrawn="1"/>
        </p:nvSpPr>
        <p:spPr>
          <a:xfrm>
            <a:off x="18749856" y="4895838"/>
            <a:ext cx="2066591" cy="7075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998">
                <a:solidFill>
                  <a:schemeClr val="bg1"/>
                </a:solidFill>
              </a:rPr>
              <a:t>Arial 20 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D9F939A5-6C85-2047-AD6A-634D9B0FBE83}"/>
              </a:ext>
            </a:extLst>
          </p:cNvPr>
          <p:cNvSpPr txBox="1"/>
          <p:nvPr userDrawn="1"/>
        </p:nvSpPr>
        <p:spPr>
          <a:xfrm>
            <a:off x="16474691" y="10513248"/>
            <a:ext cx="2066591" cy="7075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998">
                <a:solidFill>
                  <a:schemeClr val="bg1"/>
                </a:solidFill>
              </a:rPr>
              <a:t>Arial 20 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8CC75A72-6937-4E43-BB48-DB75643ECEFC}"/>
              </a:ext>
            </a:extLst>
          </p:cNvPr>
          <p:cNvSpPr txBox="1"/>
          <p:nvPr userDrawn="1"/>
        </p:nvSpPr>
        <p:spPr>
          <a:xfrm>
            <a:off x="9391813" y="10513248"/>
            <a:ext cx="2066591" cy="7075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998">
                <a:solidFill>
                  <a:schemeClr val="bg1"/>
                </a:solidFill>
              </a:rPr>
              <a:t>Arial 20 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DAD5A797-7CD5-A441-9CBA-216C29F4CAB0}"/>
              </a:ext>
            </a:extLst>
          </p:cNvPr>
          <p:cNvSpPr txBox="1"/>
          <p:nvPr userDrawn="1"/>
        </p:nvSpPr>
        <p:spPr>
          <a:xfrm>
            <a:off x="2308934" y="10513248"/>
            <a:ext cx="2066591" cy="7075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998">
                <a:solidFill>
                  <a:schemeClr val="bg1"/>
                </a:solidFill>
              </a:rPr>
              <a:t>Arial 20 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90B32A09-DBC8-5342-8189-360C42692213}"/>
              </a:ext>
            </a:extLst>
          </p:cNvPr>
          <p:cNvSpPr txBox="1"/>
          <p:nvPr userDrawn="1"/>
        </p:nvSpPr>
        <p:spPr>
          <a:xfrm>
            <a:off x="13662798" y="10178507"/>
            <a:ext cx="599844" cy="10765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6396">
                <a:latin typeface="Flaticon" panose="02000603000000000000" pitchFamily="2" charset="0"/>
              </a:rPr>
              <a:t>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F1164851-8ACA-6749-A277-CBABEB606BEA}"/>
              </a:ext>
            </a:extLst>
          </p:cNvPr>
          <p:cNvSpPr txBox="1"/>
          <p:nvPr userDrawn="1"/>
        </p:nvSpPr>
        <p:spPr>
          <a:xfrm>
            <a:off x="6579921" y="10178507"/>
            <a:ext cx="599844" cy="10765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6396">
                <a:latin typeface="Flaticon" panose="02000603000000000000" pitchFamily="2" charset="0"/>
              </a:rPr>
              <a:t>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AB05D004-6866-6440-8850-03A4040F098C}"/>
              </a:ext>
            </a:extLst>
          </p:cNvPr>
          <p:cNvSpPr txBox="1"/>
          <p:nvPr userDrawn="1"/>
        </p:nvSpPr>
        <p:spPr>
          <a:xfrm>
            <a:off x="3038481" y="4520011"/>
            <a:ext cx="599844" cy="10765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6396">
                <a:latin typeface="Flaticon" panose="02000603000000000000" pitchFamily="2" charset="0"/>
              </a:rPr>
              <a:t>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EA545981-348B-9B4A-A2A3-C676FF8DE27D}"/>
              </a:ext>
            </a:extLst>
          </p:cNvPr>
          <p:cNvSpPr txBox="1"/>
          <p:nvPr userDrawn="1"/>
        </p:nvSpPr>
        <p:spPr>
          <a:xfrm>
            <a:off x="10121361" y="4545763"/>
            <a:ext cx="599844" cy="10765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6396">
                <a:latin typeface="Flaticon" panose="02000603000000000000" pitchFamily="2" charset="0"/>
              </a:rPr>
              <a:t>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3D139755-1508-004C-8037-053A6C1BE544}"/>
              </a:ext>
            </a:extLst>
          </p:cNvPr>
          <p:cNvSpPr txBox="1"/>
          <p:nvPr userDrawn="1"/>
        </p:nvSpPr>
        <p:spPr>
          <a:xfrm>
            <a:off x="17152736" y="4571513"/>
            <a:ext cx="599844" cy="10765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6396">
                <a:latin typeface="Flaticon" panose="02000603000000000000" pitchFamily="2" charset="0"/>
              </a:rPr>
              <a:t>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B122B8FD-F117-1D4A-9E82-96B9D24F5771}"/>
              </a:ext>
            </a:extLst>
          </p:cNvPr>
          <p:cNvSpPr txBox="1"/>
          <p:nvPr userDrawn="1"/>
        </p:nvSpPr>
        <p:spPr>
          <a:xfrm>
            <a:off x="20745678" y="10204259"/>
            <a:ext cx="599844" cy="10765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6396">
                <a:latin typeface="Flaticon" panose="02000603000000000000" pitchFamily="2" charset="0"/>
              </a:rPr>
              <a:t></a:t>
            </a:r>
          </a:p>
        </p:txBody>
      </p:sp>
      <p:sp>
        <p:nvSpPr>
          <p:cNvPr id="71" name="Chevron 53">
            <a:extLst>
              <a:ext uri="{FF2B5EF4-FFF2-40B4-BE49-F238E27FC236}">
                <a16:creationId xmlns:a16="http://schemas.microsoft.com/office/drawing/2014/main" id="{2B12885E-2898-9A47-93BD-37F13986545E}"/>
              </a:ext>
            </a:extLst>
          </p:cNvPr>
          <p:cNvSpPr/>
          <p:nvPr userDrawn="1"/>
        </p:nvSpPr>
        <p:spPr>
          <a:xfrm>
            <a:off x="15778840" y="7615263"/>
            <a:ext cx="3450641" cy="849262"/>
          </a:xfrm>
          <a:prstGeom prst="chevron">
            <a:avLst/>
          </a:prstGeom>
          <a:solidFill>
            <a:schemeClr val="tx2"/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3200">
                <a:solidFill>
                  <a:schemeClr val="tx1"/>
                </a:solidFill>
                <a:latin typeface="+mj-lt"/>
                <a:ea typeface="Questrial" panose="02000000000000000000" pitchFamily="2" charset="0"/>
                <a:cs typeface="Montserrat" panose="02000000000000000000" pitchFamily="2" charset="0"/>
              </a:rPr>
              <a:t>2016</a:t>
            </a:r>
          </a:p>
        </p:txBody>
      </p:sp>
      <p:sp>
        <p:nvSpPr>
          <p:cNvPr id="72" name="Chevron 54">
            <a:extLst>
              <a:ext uri="{FF2B5EF4-FFF2-40B4-BE49-F238E27FC236}">
                <a16:creationId xmlns:a16="http://schemas.microsoft.com/office/drawing/2014/main" id="{6C957690-5510-644B-BF57-EB1FAA22E103}"/>
              </a:ext>
            </a:extLst>
          </p:cNvPr>
          <p:cNvSpPr/>
          <p:nvPr userDrawn="1"/>
        </p:nvSpPr>
        <p:spPr>
          <a:xfrm>
            <a:off x="12237400" y="7615263"/>
            <a:ext cx="3450641" cy="849262"/>
          </a:xfrm>
          <a:prstGeom prst="chevron">
            <a:avLst/>
          </a:prstGeom>
          <a:solidFill>
            <a:schemeClr val="bg2"/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3200">
                <a:solidFill>
                  <a:srgbClr val="FFFFFF"/>
                </a:solidFill>
                <a:latin typeface="+mj-lt"/>
                <a:ea typeface="Questrial" panose="02000000000000000000" pitchFamily="2" charset="0"/>
                <a:cs typeface="Montserrat" panose="02000000000000000000" pitchFamily="2" charset="0"/>
              </a:rPr>
              <a:t>2015</a:t>
            </a:r>
          </a:p>
        </p:txBody>
      </p:sp>
      <p:sp>
        <p:nvSpPr>
          <p:cNvPr id="73" name="Chevron 55">
            <a:extLst>
              <a:ext uri="{FF2B5EF4-FFF2-40B4-BE49-F238E27FC236}">
                <a16:creationId xmlns:a16="http://schemas.microsoft.com/office/drawing/2014/main" id="{ADAEB6FD-D438-FF4C-92F3-EDBE1877FD40}"/>
              </a:ext>
            </a:extLst>
          </p:cNvPr>
          <p:cNvSpPr/>
          <p:nvPr userDrawn="1"/>
        </p:nvSpPr>
        <p:spPr>
          <a:xfrm>
            <a:off x="8695963" y="7615263"/>
            <a:ext cx="3450641" cy="849262"/>
          </a:xfrm>
          <a:prstGeom prst="chevron">
            <a:avLst/>
          </a:prstGeom>
          <a:solidFill>
            <a:schemeClr val="tx2"/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3200">
                <a:solidFill>
                  <a:schemeClr val="tx1"/>
                </a:solidFill>
                <a:latin typeface="+mj-lt"/>
                <a:ea typeface="Questrial" panose="02000000000000000000" pitchFamily="2" charset="0"/>
                <a:cs typeface="Montserrat" panose="02000000000000000000" pitchFamily="2" charset="0"/>
              </a:rPr>
              <a:t>2014</a:t>
            </a:r>
          </a:p>
        </p:txBody>
      </p:sp>
      <p:sp>
        <p:nvSpPr>
          <p:cNvPr id="74" name="Chevron 60">
            <a:extLst>
              <a:ext uri="{FF2B5EF4-FFF2-40B4-BE49-F238E27FC236}">
                <a16:creationId xmlns:a16="http://schemas.microsoft.com/office/drawing/2014/main" id="{3F61A945-660F-314C-B1E6-89522B29A36A}"/>
              </a:ext>
            </a:extLst>
          </p:cNvPr>
          <p:cNvSpPr/>
          <p:nvPr userDrawn="1"/>
        </p:nvSpPr>
        <p:spPr>
          <a:xfrm>
            <a:off x="5154523" y="7615263"/>
            <a:ext cx="3450641" cy="849262"/>
          </a:xfrm>
          <a:prstGeom prst="chevron">
            <a:avLst/>
          </a:prstGeom>
          <a:solidFill>
            <a:schemeClr val="bg2"/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3200">
                <a:solidFill>
                  <a:srgbClr val="FFFFFF"/>
                </a:solidFill>
                <a:latin typeface="+mj-lt"/>
                <a:ea typeface="Questrial" panose="02000000000000000000" pitchFamily="2" charset="0"/>
                <a:cs typeface="Montserrat" panose="02000000000000000000" pitchFamily="2" charset="0"/>
              </a:rPr>
              <a:t>2013</a:t>
            </a:r>
          </a:p>
        </p:txBody>
      </p:sp>
      <p:sp>
        <p:nvSpPr>
          <p:cNvPr id="75" name="Chevron 63">
            <a:extLst>
              <a:ext uri="{FF2B5EF4-FFF2-40B4-BE49-F238E27FC236}">
                <a16:creationId xmlns:a16="http://schemas.microsoft.com/office/drawing/2014/main" id="{6E2F945E-1FC1-D045-8296-EE65492AA9AA}"/>
              </a:ext>
            </a:extLst>
          </p:cNvPr>
          <p:cNvSpPr/>
          <p:nvPr userDrawn="1"/>
        </p:nvSpPr>
        <p:spPr>
          <a:xfrm>
            <a:off x="1613083" y="7615263"/>
            <a:ext cx="3450641" cy="849262"/>
          </a:xfrm>
          <a:prstGeom prst="chevron">
            <a:avLst/>
          </a:prstGeom>
          <a:solidFill>
            <a:schemeClr val="tx2"/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3200">
                <a:solidFill>
                  <a:schemeClr val="tx1"/>
                </a:solidFill>
                <a:latin typeface="+mj-lt"/>
                <a:ea typeface="Questrial" panose="02000000000000000000" pitchFamily="2" charset="0"/>
                <a:cs typeface="Montserrat" panose="02000000000000000000" pitchFamily="2" charset="0"/>
              </a:rPr>
              <a:t>2012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5128571-A04C-F442-9601-007856A4DF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6401" y="1461035"/>
            <a:ext cx="21031201" cy="146156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98558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1828804" y="567777"/>
            <a:ext cx="20726399" cy="1133518"/>
          </a:xfrm>
          <a:prstGeom prst="rect">
            <a:avLst/>
          </a:prstGeom>
        </p:spPr>
        <p:txBody>
          <a:bodyPr>
            <a:noAutofit/>
          </a:bodyPr>
          <a:lstStyle/>
          <a:p>
            <a:endParaRPr lang="en-US">
              <a:solidFill>
                <a:schemeClr val="bg2"/>
              </a:solidFill>
            </a:endParaRPr>
          </a:p>
        </p:txBody>
      </p:sp>
      <p:sp>
        <p:nvSpPr>
          <p:cNvPr id="12" name="Subtitle 2"/>
          <p:cNvSpPr txBox="1">
            <a:spLocks/>
          </p:cNvSpPr>
          <p:nvPr userDrawn="1"/>
        </p:nvSpPr>
        <p:spPr>
          <a:xfrm>
            <a:off x="1865381" y="1478874"/>
            <a:ext cx="20653248" cy="839116"/>
          </a:xfrm>
          <a:prstGeom prst="rect">
            <a:avLst/>
          </a:prstGeom>
        </p:spPr>
        <p:txBody>
          <a:bodyPr vert="horz" lIns="217350" tIns="108674" rIns="217350" bIns="108674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3098"/>
          </a:p>
        </p:txBody>
      </p:sp>
      <p:sp>
        <p:nvSpPr>
          <p:cNvPr id="13" name="Subtitle 2"/>
          <p:cNvSpPr txBox="1">
            <a:spLocks/>
          </p:cNvSpPr>
          <p:nvPr userDrawn="1"/>
        </p:nvSpPr>
        <p:spPr>
          <a:xfrm>
            <a:off x="1865381" y="1478874"/>
            <a:ext cx="20653248" cy="839116"/>
          </a:xfrm>
          <a:prstGeom prst="rect">
            <a:avLst/>
          </a:prstGeom>
        </p:spPr>
        <p:txBody>
          <a:bodyPr vert="horz" lIns="217350" tIns="108674" rIns="217350" bIns="108674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3098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30D738-FFA1-3149-BE37-CE55AF46773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47851" y="3340103"/>
            <a:ext cx="20688300" cy="8528050"/>
          </a:xfrm>
          <a:prstGeom prst="rect">
            <a:avLst/>
          </a:prstGeom>
        </p:spPr>
        <p:txBody>
          <a:bodyPr/>
          <a:lstStyle>
            <a:lvl1pPr>
              <a:defRPr sz="3598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1546B74-31B5-0546-B3A3-465C8C8E77B1}"/>
              </a:ext>
            </a:extLst>
          </p:cNvPr>
          <p:cNvSpPr/>
          <p:nvPr userDrawn="1"/>
        </p:nvSpPr>
        <p:spPr>
          <a:xfrm>
            <a:off x="11415490" y="2594356"/>
            <a:ext cx="1553038" cy="127964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280" tIns="45642" rIns="91280" bIns="45642" rtlCol="0" anchor="ctr"/>
          <a:lstStyle/>
          <a:p>
            <a:pPr algn="ctr"/>
            <a:endParaRPr lang="en-US" sz="2398">
              <a:solidFill>
                <a:schemeClr val="accent2"/>
              </a:solidFill>
              <a:latin typeface="Open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3272085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la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8">
            <a:extLst>
              <a:ext uri="{FF2B5EF4-FFF2-40B4-BE49-F238E27FC236}">
                <a16:creationId xmlns:a16="http://schemas.microsoft.com/office/drawing/2014/main" id="{51259D3F-E530-B242-A99F-DC7E7D3973B7}"/>
              </a:ext>
            </a:extLst>
          </p:cNvPr>
          <p:cNvSpPr/>
          <p:nvPr userDrawn="1"/>
        </p:nvSpPr>
        <p:spPr>
          <a:xfrm>
            <a:off x="-147805" y="-71253"/>
            <a:ext cx="7863840" cy="13882254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0 w 6363516"/>
              <a:gd name="connsiteY0" fmla="*/ 0 h 11229185"/>
              <a:gd name="connsiteX1" fmla="*/ 6363516 w 6363516"/>
              <a:gd name="connsiteY1" fmla="*/ 0 h 11229185"/>
              <a:gd name="connsiteX2" fmla="*/ 3530669 w 6363516"/>
              <a:gd name="connsiteY2" fmla="*/ 11229185 h 11229185"/>
              <a:gd name="connsiteX3" fmla="*/ 0 w 6363516"/>
              <a:gd name="connsiteY3" fmla="*/ 11229185 h 11229185"/>
              <a:gd name="connsiteX4" fmla="*/ 0 w 6363516"/>
              <a:gd name="connsiteY4" fmla="*/ 0 h 11229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63516" h="11229185">
                <a:moveTo>
                  <a:pt x="0" y="0"/>
                </a:moveTo>
                <a:lnTo>
                  <a:pt x="6363516" y="0"/>
                </a:lnTo>
                <a:lnTo>
                  <a:pt x="3530669" y="11229185"/>
                </a:lnTo>
                <a:lnTo>
                  <a:pt x="0" y="11229185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2398"/>
          </a:p>
        </p:txBody>
      </p:sp>
      <p:sp>
        <p:nvSpPr>
          <p:cNvPr id="6" name="Rectangle 39">
            <a:extLst>
              <a:ext uri="{FF2B5EF4-FFF2-40B4-BE49-F238E27FC236}">
                <a16:creationId xmlns:a16="http://schemas.microsoft.com/office/drawing/2014/main" id="{1349D72F-8C7C-4748-873E-C8F9AE4E11E7}"/>
              </a:ext>
            </a:extLst>
          </p:cNvPr>
          <p:cNvSpPr/>
          <p:nvPr userDrawn="1"/>
        </p:nvSpPr>
        <p:spPr>
          <a:xfrm>
            <a:off x="4518551" y="-71251"/>
            <a:ext cx="7734730" cy="13853330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2814917 w 6345586"/>
              <a:gd name="connsiteY0" fmla="*/ 0 h 11247115"/>
              <a:gd name="connsiteX1" fmla="*/ 6345586 w 6345586"/>
              <a:gd name="connsiteY1" fmla="*/ 0 h 11247115"/>
              <a:gd name="connsiteX2" fmla="*/ 6345586 w 6345586"/>
              <a:gd name="connsiteY2" fmla="*/ 11229185 h 11247115"/>
              <a:gd name="connsiteX3" fmla="*/ 0 w 6345586"/>
              <a:gd name="connsiteY3" fmla="*/ 11247115 h 11247115"/>
              <a:gd name="connsiteX4" fmla="*/ 2814917 w 6345586"/>
              <a:gd name="connsiteY4" fmla="*/ 0 h 11247115"/>
              <a:gd name="connsiteX0" fmla="*/ 2814917 w 6345586"/>
              <a:gd name="connsiteY0" fmla="*/ 0 h 11229186"/>
              <a:gd name="connsiteX1" fmla="*/ 6345586 w 6345586"/>
              <a:gd name="connsiteY1" fmla="*/ 0 h 11229186"/>
              <a:gd name="connsiteX2" fmla="*/ 6345586 w 6345586"/>
              <a:gd name="connsiteY2" fmla="*/ 11229185 h 11229186"/>
              <a:gd name="connsiteX3" fmla="*/ 0 w 6345586"/>
              <a:gd name="connsiteY3" fmla="*/ 11229186 h 11229186"/>
              <a:gd name="connsiteX4" fmla="*/ 2814917 w 6345586"/>
              <a:gd name="connsiteY4" fmla="*/ 0 h 11229186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1933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620315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12738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8445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30667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45586" h="11229185">
                <a:moveTo>
                  <a:pt x="2814917" y="0"/>
                </a:moveTo>
                <a:lnTo>
                  <a:pt x="6345586" y="0"/>
                </a:lnTo>
                <a:lnTo>
                  <a:pt x="3530667" y="11229185"/>
                </a:lnTo>
                <a:lnTo>
                  <a:pt x="0" y="11218727"/>
                </a:lnTo>
                <a:lnTo>
                  <a:pt x="2814917" y="0"/>
                </a:lnTo>
                <a:close/>
              </a:path>
            </a:pathLst>
          </a:cu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2398"/>
          </a:p>
        </p:txBody>
      </p:sp>
      <p:sp>
        <p:nvSpPr>
          <p:cNvPr id="7" name="Rectangle 39">
            <a:extLst>
              <a:ext uri="{FF2B5EF4-FFF2-40B4-BE49-F238E27FC236}">
                <a16:creationId xmlns:a16="http://schemas.microsoft.com/office/drawing/2014/main" id="{50C756A6-1DD4-4746-9983-ABD732A9FAA5}"/>
              </a:ext>
            </a:extLst>
          </p:cNvPr>
          <p:cNvSpPr/>
          <p:nvPr userDrawn="1"/>
        </p:nvSpPr>
        <p:spPr>
          <a:xfrm>
            <a:off x="9124020" y="-71252"/>
            <a:ext cx="7734730" cy="13882252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2814917 w 6345586"/>
              <a:gd name="connsiteY0" fmla="*/ 0 h 11247115"/>
              <a:gd name="connsiteX1" fmla="*/ 6345586 w 6345586"/>
              <a:gd name="connsiteY1" fmla="*/ 0 h 11247115"/>
              <a:gd name="connsiteX2" fmla="*/ 6345586 w 6345586"/>
              <a:gd name="connsiteY2" fmla="*/ 11229185 h 11247115"/>
              <a:gd name="connsiteX3" fmla="*/ 0 w 6345586"/>
              <a:gd name="connsiteY3" fmla="*/ 11247115 h 11247115"/>
              <a:gd name="connsiteX4" fmla="*/ 2814917 w 6345586"/>
              <a:gd name="connsiteY4" fmla="*/ 0 h 11247115"/>
              <a:gd name="connsiteX0" fmla="*/ 2814917 w 6345586"/>
              <a:gd name="connsiteY0" fmla="*/ 0 h 11229186"/>
              <a:gd name="connsiteX1" fmla="*/ 6345586 w 6345586"/>
              <a:gd name="connsiteY1" fmla="*/ 0 h 11229186"/>
              <a:gd name="connsiteX2" fmla="*/ 6345586 w 6345586"/>
              <a:gd name="connsiteY2" fmla="*/ 11229185 h 11229186"/>
              <a:gd name="connsiteX3" fmla="*/ 0 w 6345586"/>
              <a:gd name="connsiteY3" fmla="*/ 11229186 h 11229186"/>
              <a:gd name="connsiteX4" fmla="*/ 2814917 w 6345586"/>
              <a:gd name="connsiteY4" fmla="*/ 0 h 11229186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1933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620315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12738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8445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30667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45586" h="11229185">
                <a:moveTo>
                  <a:pt x="2814917" y="0"/>
                </a:moveTo>
                <a:lnTo>
                  <a:pt x="6345586" y="0"/>
                </a:lnTo>
                <a:lnTo>
                  <a:pt x="3530667" y="11229185"/>
                </a:lnTo>
                <a:lnTo>
                  <a:pt x="0" y="11218727"/>
                </a:lnTo>
                <a:lnTo>
                  <a:pt x="2814917" y="0"/>
                </a:lnTo>
                <a:close/>
              </a:path>
            </a:pathLst>
          </a:custGeo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2398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689E7F6-D2EF-6542-8BC8-868976C46C2E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4585797" y="10051483"/>
            <a:ext cx="8705485" cy="1522890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RIAL 40</a:t>
            </a:r>
          </a:p>
        </p:txBody>
      </p:sp>
    </p:spTree>
    <p:extLst>
      <p:ext uri="{BB962C8B-B14F-4D97-AF65-F5344CB8AC3E}">
        <p14:creationId xmlns:p14="http://schemas.microsoft.com/office/powerpoint/2010/main" val="2814733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Sla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39">
            <a:extLst>
              <a:ext uri="{FF2B5EF4-FFF2-40B4-BE49-F238E27FC236}">
                <a16:creationId xmlns:a16="http://schemas.microsoft.com/office/drawing/2014/main" id="{F2A6B369-0036-054B-A28F-0FF668A03822}"/>
              </a:ext>
            </a:extLst>
          </p:cNvPr>
          <p:cNvSpPr/>
          <p:nvPr userDrawn="1"/>
        </p:nvSpPr>
        <p:spPr>
          <a:xfrm>
            <a:off x="4316328" y="-71251"/>
            <a:ext cx="7155247" cy="13894130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2814917 w 6345586"/>
              <a:gd name="connsiteY0" fmla="*/ 0 h 11247115"/>
              <a:gd name="connsiteX1" fmla="*/ 6345586 w 6345586"/>
              <a:gd name="connsiteY1" fmla="*/ 0 h 11247115"/>
              <a:gd name="connsiteX2" fmla="*/ 6345586 w 6345586"/>
              <a:gd name="connsiteY2" fmla="*/ 11229185 h 11247115"/>
              <a:gd name="connsiteX3" fmla="*/ 0 w 6345586"/>
              <a:gd name="connsiteY3" fmla="*/ 11247115 h 11247115"/>
              <a:gd name="connsiteX4" fmla="*/ 2814917 w 6345586"/>
              <a:gd name="connsiteY4" fmla="*/ 0 h 11247115"/>
              <a:gd name="connsiteX0" fmla="*/ 2814917 w 6345586"/>
              <a:gd name="connsiteY0" fmla="*/ 0 h 11229186"/>
              <a:gd name="connsiteX1" fmla="*/ 6345586 w 6345586"/>
              <a:gd name="connsiteY1" fmla="*/ 0 h 11229186"/>
              <a:gd name="connsiteX2" fmla="*/ 6345586 w 6345586"/>
              <a:gd name="connsiteY2" fmla="*/ 11229185 h 11229186"/>
              <a:gd name="connsiteX3" fmla="*/ 0 w 6345586"/>
              <a:gd name="connsiteY3" fmla="*/ 11229186 h 11229186"/>
              <a:gd name="connsiteX4" fmla="*/ 2814917 w 6345586"/>
              <a:gd name="connsiteY4" fmla="*/ 0 h 11229186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1933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620315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12738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8445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30667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45586" h="11229185">
                <a:moveTo>
                  <a:pt x="2814917" y="0"/>
                </a:moveTo>
                <a:lnTo>
                  <a:pt x="6345586" y="0"/>
                </a:lnTo>
                <a:lnTo>
                  <a:pt x="3530667" y="11229185"/>
                </a:lnTo>
                <a:lnTo>
                  <a:pt x="0" y="11218727"/>
                </a:lnTo>
                <a:lnTo>
                  <a:pt x="2814917" y="0"/>
                </a:lnTo>
                <a:close/>
              </a:path>
            </a:pathLst>
          </a:cu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2398"/>
          </a:p>
        </p:txBody>
      </p:sp>
      <p:sp>
        <p:nvSpPr>
          <p:cNvPr id="9" name="Rectangle 39">
            <a:extLst>
              <a:ext uri="{FF2B5EF4-FFF2-40B4-BE49-F238E27FC236}">
                <a16:creationId xmlns:a16="http://schemas.microsoft.com/office/drawing/2014/main" id="{57D737B4-B5B2-DF4C-AE4A-C68397194982}"/>
              </a:ext>
            </a:extLst>
          </p:cNvPr>
          <p:cNvSpPr/>
          <p:nvPr userDrawn="1"/>
        </p:nvSpPr>
        <p:spPr>
          <a:xfrm>
            <a:off x="8523034" y="-71251"/>
            <a:ext cx="7155247" cy="13894130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2814917 w 6345586"/>
              <a:gd name="connsiteY0" fmla="*/ 0 h 11247115"/>
              <a:gd name="connsiteX1" fmla="*/ 6345586 w 6345586"/>
              <a:gd name="connsiteY1" fmla="*/ 0 h 11247115"/>
              <a:gd name="connsiteX2" fmla="*/ 6345586 w 6345586"/>
              <a:gd name="connsiteY2" fmla="*/ 11229185 h 11247115"/>
              <a:gd name="connsiteX3" fmla="*/ 0 w 6345586"/>
              <a:gd name="connsiteY3" fmla="*/ 11247115 h 11247115"/>
              <a:gd name="connsiteX4" fmla="*/ 2814917 w 6345586"/>
              <a:gd name="connsiteY4" fmla="*/ 0 h 11247115"/>
              <a:gd name="connsiteX0" fmla="*/ 2814917 w 6345586"/>
              <a:gd name="connsiteY0" fmla="*/ 0 h 11229186"/>
              <a:gd name="connsiteX1" fmla="*/ 6345586 w 6345586"/>
              <a:gd name="connsiteY1" fmla="*/ 0 h 11229186"/>
              <a:gd name="connsiteX2" fmla="*/ 6345586 w 6345586"/>
              <a:gd name="connsiteY2" fmla="*/ 11229185 h 11229186"/>
              <a:gd name="connsiteX3" fmla="*/ 0 w 6345586"/>
              <a:gd name="connsiteY3" fmla="*/ 11229186 h 11229186"/>
              <a:gd name="connsiteX4" fmla="*/ 2814917 w 6345586"/>
              <a:gd name="connsiteY4" fmla="*/ 0 h 11229186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1933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620315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12738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8445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30667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45586" h="11229185">
                <a:moveTo>
                  <a:pt x="2814917" y="0"/>
                </a:moveTo>
                <a:lnTo>
                  <a:pt x="6345586" y="0"/>
                </a:lnTo>
                <a:lnTo>
                  <a:pt x="3530667" y="11229185"/>
                </a:lnTo>
                <a:lnTo>
                  <a:pt x="0" y="11218727"/>
                </a:lnTo>
                <a:lnTo>
                  <a:pt x="2814917" y="0"/>
                </a:lnTo>
                <a:close/>
              </a:path>
            </a:pathLst>
          </a:cu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2398"/>
          </a:p>
        </p:txBody>
      </p:sp>
      <p:sp>
        <p:nvSpPr>
          <p:cNvPr id="10" name="Rectangle 39">
            <a:extLst>
              <a:ext uri="{FF2B5EF4-FFF2-40B4-BE49-F238E27FC236}">
                <a16:creationId xmlns:a16="http://schemas.microsoft.com/office/drawing/2014/main" id="{4237138A-00E4-EE4C-BCEC-489B99C24C44}"/>
              </a:ext>
            </a:extLst>
          </p:cNvPr>
          <p:cNvSpPr/>
          <p:nvPr userDrawn="1"/>
        </p:nvSpPr>
        <p:spPr>
          <a:xfrm>
            <a:off x="12753121" y="-71251"/>
            <a:ext cx="7012142" cy="13894130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2814917 w 6345586"/>
              <a:gd name="connsiteY0" fmla="*/ 0 h 11247115"/>
              <a:gd name="connsiteX1" fmla="*/ 6345586 w 6345586"/>
              <a:gd name="connsiteY1" fmla="*/ 0 h 11247115"/>
              <a:gd name="connsiteX2" fmla="*/ 6345586 w 6345586"/>
              <a:gd name="connsiteY2" fmla="*/ 11229185 h 11247115"/>
              <a:gd name="connsiteX3" fmla="*/ 0 w 6345586"/>
              <a:gd name="connsiteY3" fmla="*/ 11247115 h 11247115"/>
              <a:gd name="connsiteX4" fmla="*/ 2814917 w 6345586"/>
              <a:gd name="connsiteY4" fmla="*/ 0 h 11247115"/>
              <a:gd name="connsiteX0" fmla="*/ 2814917 w 6345586"/>
              <a:gd name="connsiteY0" fmla="*/ 0 h 11229186"/>
              <a:gd name="connsiteX1" fmla="*/ 6345586 w 6345586"/>
              <a:gd name="connsiteY1" fmla="*/ 0 h 11229186"/>
              <a:gd name="connsiteX2" fmla="*/ 6345586 w 6345586"/>
              <a:gd name="connsiteY2" fmla="*/ 11229185 h 11229186"/>
              <a:gd name="connsiteX3" fmla="*/ 0 w 6345586"/>
              <a:gd name="connsiteY3" fmla="*/ 11229186 h 11229186"/>
              <a:gd name="connsiteX4" fmla="*/ 2814917 w 6345586"/>
              <a:gd name="connsiteY4" fmla="*/ 0 h 11229186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1933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620315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12738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8445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30667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45586" h="11229185">
                <a:moveTo>
                  <a:pt x="2814917" y="0"/>
                </a:moveTo>
                <a:lnTo>
                  <a:pt x="6345586" y="0"/>
                </a:lnTo>
                <a:lnTo>
                  <a:pt x="3530667" y="11229185"/>
                </a:lnTo>
                <a:lnTo>
                  <a:pt x="0" y="11218727"/>
                </a:lnTo>
                <a:lnTo>
                  <a:pt x="2814917" y="0"/>
                </a:lnTo>
                <a:close/>
              </a:path>
            </a:pathLst>
          </a:custGeom>
          <a:blipFill dpi="0"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2398"/>
          </a:p>
        </p:txBody>
      </p:sp>
      <p:sp>
        <p:nvSpPr>
          <p:cNvPr id="11" name="Rectangle 39">
            <a:extLst>
              <a:ext uri="{FF2B5EF4-FFF2-40B4-BE49-F238E27FC236}">
                <a16:creationId xmlns:a16="http://schemas.microsoft.com/office/drawing/2014/main" id="{F7E24681-28F3-AA40-A591-D0E90A59B49F}"/>
              </a:ext>
            </a:extLst>
          </p:cNvPr>
          <p:cNvSpPr/>
          <p:nvPr userDrawn="1"/>
        </p:nvSpPr>
        <p:spPr>
          <a:xfrm>
            <a:off x="16916239" y="-71252"/>
            <a:ext cx="7559589" cy="13881192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2814917 w 6345586"/>
              <a:gd name="connsiteY0" fmla="*/ 0 h 11247115"/>
              <a:gd name="connsiteX1" fmla="*/ 6345586 w 6345586"/>
              <a:gd name="connsiteY1" fmla="*/ 0 h 11247115"/>
              <a:gd name="connsiteX2" fmla="*/ 6345586 w 6345586"/>
              <a:gd name="connsiteY2" fmla="*/ 11229185 h 11247115"/>
              <a:gd name="connsiteX3" fmla="*/ 0 w 6345586"/>
              <a:gd name="connsiteY3" fmla="*/ 11247115 h 11247115"/>
              <a:gd name="connsiteX4" fmla="*/ 2814917 w 6345586"/>
              <a:gd name="connsiteY4" fmla="*/ 0 h 11247115"/>
              <a:gd name="connsiteX0" fmla="*/ 2814917 w 6345586"/>
              <a:gd name="connsiteY0" fmla="*/ 0 h 11229186"/>
              <a:gd name="connsiteX1" fmla="*/ 6345586 w 6345586"/>
              <a:gd name="connsiteY1" fmla="*/ 0 h 11229186"/>
              <a:gd name="connsiteX2" fmla="*/ 6345586 w 6345586"/>
              <a:gd name="connsiteY2" fmla="*/ 11229185 h 11229186"/>
              <a:gd name="connsiteX3" fmla="*/ 0 w 6345586"/>
              <a:gd name="connsiteY3" fmla="*/ 11229186 h 11229186"/>
              <a:gd name="connsiteX4" fmla="*/ 2814917 w 6345586"/>
              <a:gd name="connsiteY4" fmla="*/ 0 h 11229186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1933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620315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12738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8445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30667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560737"/>
              <a:gd name="connsiteY0" fmla="*/ 0 h 11218727"/>
              <a:gd name="connsiteX1" fmla="*/ 6345586 w 6560737"/>
              <a:gd name="connsiteY1" fmla="*/ 0 h 11218727"/>
              <a:gd name="connsiteX2" fmla="*/ 6560737 w 6560737"/>
              <a:gd name="connsiteY2" fmla="*/ 11211255 h 11218727"/>
              <a:gd name="connsiteX3" fmla="*/ 0 w 6560737"/>
              <a:gd name="connsiteY3" fmla="*/ 11218727 h 11218727"/>
              <a:gd name="connsiteX4" fmla="*/ 2814917 w 6560737"/>
              <a:gd name="connsiteY4" fmla="*/ 0 h 11218727"/>
              <a:gd name="connsiteX0" fmla="*/ 2814917 w 6560737"/>
              <a:gd name="connsiteY0" fmla="*/ 0 h 11218727"/>
              <a:gd name="connsiteX1" fmla="*/ 6345586 w 6560737"/>
              <a:gd name="connsiteY1" fmla="*/ 0 h 11218727"/>
              <a:gd name="connsiteX2" fmla="*/ 6560737 w 6560737"/>
              <a:gd name="connsiteY2" fmla="*/ 11211255 h 11218727"/>
              <a:gd name="connsiteX3" fmla="*/ 0 w 6560737"/>
              <a:gd name="connsiteY3" fmla="*/ 11218727 h 11218727"/>
              <a:gd name="connsiteX4" fmla="*/ 2814917 w 6560737"/>
              <a:gd name="connsiteY4" fmla="*/ 0 h 11218727"/>
              <a:gd name="connsiteX0" fmla="*/ 2814917 w 6632456"/>
              <a:gd name="connsiteY0" fmla="*/ 0 h 11218727"/>
              <a:gd name="connsiteX1" fmla="*/ 6632456 w 6632456"/>
              <a:gd name="connsiteY1" fmla="*/ 17930 h 11218727"/>
              <a:gd name="connsiteX2" fmla="*/ 6560737 w 6632456"/>
              <a:gd name="connsiteY2" fmla="*/ 11211255 h 11218727"/>
              <a:gd name="connsiteX3" fmla="*/ 0 w 6632456"/>
              <a:gd name="connsiteY3" fmla="*/ 11218727 h 11218727"/>
              <a:gd name="connsiteX4" fmla="*/ 2814917 w 6632456"/>
              <a:gd name="connsiteY4" fmla="*/ 0 h 11218727"/>
              <a:gd name="connsiteX0" fmla="*/ 2814917 w 6596597"/>
              <a:gd name="connsiteY0" fmla="*/ 0 h 11218727"/>
              <a:gd name="connsiteX1" fmla="*/ 6596597 w 6596597"/>
              <a:gd name="connsiteY1" fmla="*/ 17930 h 11218727"/>
              <a:gd name="connsiteX2" fmla="*/ 6560737 w 6596597"/>
              <a:gd name="connsiteY2" fmla="*/ 11211255 h 11218727"/>
              <a:gd name="connsiteX3" fmla="*/ 0 w 6596597"/>
              <a:gd name="connsiteY3" fmla="*/ 11218727 h 11218727"/>
              <a:gd name="connsiteX4" fmla="*/ 2814917 w 6596597"/>
              <a:gd name="connsiteY4" fmla="*/ 0 h 11218727"/>
              <a:gd name="connsiteX0" fmla="*/ 2814917 w 6650386"/>
              <a:gd name="connsiteY0" fmla="*/ 0 h 11218727"/>
              <a:gd name="connsiteX1" fmla="*/ 6650386 w 6650386"/>
              <a:gd name="connsiteY1" fmla="*/ 17930 h 11218727"/>
              <a:gd name="connsiteX2" fmla="*/ 6560737 w 6650386"/>
              <a:gd name="connsiteY2" fmla="*/ 11211255 h 11218727"/>
              <a:gd name="connsiteX3" fmla="*/ 0 w 6650386"/>
              <a:gd name="connsiteY3" fmla="*/ 11218727 h 11218727"/>
              <a:gd name="connsiteX4" fmla="*/ 2814917 w 6650386"/>
              <a:gd name="connsiteY4" fmla="*/ 0 h 11218727"/>
              <a:gd name="connsiteX0" fmla="*/ 2814917 w 6650386"/>
              <a:gd name="connsiteY0" fmla="*/ 0 h 11218727"/>
              <a:gd name="connsiteX1" fmla="*/ 6650386 w 6650386"/>
              <a:gd name="connsiteY1" fmla="*/ 17930 h 11218727"/>
              <a:gd name="connsiteX2" fmla="*/ 6650385 w 6650386"/>
              <a:gd name="connsiteY2" fmla="*/ 11211255 h 11218727"/>
              <a:gd name="connsiteX3" fmla="*/ 0 w 6650386"/>
              <a:gd name="connsiteY3" fmla="*/ 11218727 h 11218727"/>
              <a:gd name="connsiteX4" fmla="*/ 2814917 w 6650386"/>
              <a:gd name="connsiteY4" fmla="*/ 0 h 11218727"/>
              <a:gd name="connsiteX0" fmla="*/ 2814917 w 6650386"/>
              <a:gd name="connsiteY0" fmla="*/ 0 h 11218727"/>
              <a:gd name="connsiteX1" fmla="*/ 6650386 w 6650386"/>
              <a:gd name="connsiteY1" fmla="*/ 17930 h 11218727"/>
              <a:gd name="connsiteX2" fmla="*/ 6650385 w 6650386"/>
              <a:gd name="connsiteY2" fmla="*/ 11193325 h 11218727"/>
              <a:gd name="connsiteX3" fmla="*/ 0 w 6650386"/>
              <a:gd name="connsiteY3" fmla="*/ 11218727 h 11218727"/>
              <a:gd name="connsiteX4" fmla="*/ 2814917 w 6650386"/>
              <a:gd name="connsiteY4" fmla="*/ 0 h 11218727"/>
              <a:gd name="connsiteX0" fmla="*/ 2814917 w 6704174"/>
              <a:gd name="connsiteY0" fmla="*/ 0 h 11218727"/>
              <a:gd name="connsiteX1" fmla="*/ 6704174 w 6704174"/>
              <a:gd name="connsiteY1" fmla="*/ 17930 h 11218727"/>
              <a:gd name="connsiteX2" fmla="*/ 6650385 w 6704174"/>
              <a:gd name="connsiteY2" fmla="*/ 11193325 h 11218727"/>
              <a:gd name="connsiteX3" fmla="*/ 0 w 6704174"/>
              <a:gd name="connsiteY3" fmla="*/ 11218727 h 11218727"/>
              <a:gd name="connsiteX4" fmla="*/ 2814917 w 6704174"/>
              <a:gd name="connsiteY4" fmla="*/ 0 h 11218727"/>
              <a:gd name="connsiteX0" fmla="*/ 2814917 w 6650386"/>
              <a:gd name="connsiteY0" fmla="*/ 0 h 11218727"/>
              <a:gd name="connsiteX1" fmla="*/ 6650386 w 6650386"/>
              <a:gd name="connsiteY1" fmla="*/ 17930 h 11218727"/>
              <a:gd name="connsiteX2" fmla="*/ 6650385 w 6650386"/>
              <a:gd name="connsiteY2" fmla="*/ 11193325 h 11218727"/>
              <a:gd name="connsiteX3" fmla="*/ 0 w 6650386"/>
              <a:gd name="connsiteY3" fmla="*/ 11218727 h 11218727"/>
              <a:gd name="connsiteX4" fmla="*/ 2814917 w 6650386"/>
              <a:gd name="connsiteY4" fmla="*/ 0 h 11218727"/>
              <a:gd name="connsiteX0" fmla="*/ 2814917 w 6704174"/>
              <a:gd name="connsiteY0" fmla="*/ 0 h 11218727"/>
              <a:gd name="connsiteX1" fmla="*/ 6704174 w 6704174"/>
              <a:gd name="connsiteY1" fmla="*/ 17930 h 11218727"/>
              <a:gd name="connsiteX2" fmla="*/ 6650385 w 6704174"/>
              <a:gd name="connsiteY2" fmla="*/ 11193325 h 11218727"/>
              <a:gd name="connsiteX3" fmla="*/ 0 w 6704174"/>
              <a:gd name="connsiteY3" fmla="*/ 11218727 h 11218727"/>
              <a:gd name="connsiteX4" fmla="*/ 2814917 w 6704174"/>
              <a:gd name="connsiteY4" fmla="*/ 0 h 11218727"/>
              <a:gd name="connsiteX0" fmla="*/ 2814917 w 6704174"/>
              <a:gd name="connsiteY0" fmla="*/ 0 h 11218727"/>
              <a:gd name="connsiteX1" fmla="*/ 6704174 w 6704174"/>
              <a:gd name="connsiteY1" fmla="*/ 17930 h 11218727"/>
              <a:gd name="connsiteX2" fmla="*/ 6704173 w 6704174"/>
              <a:gd name="connsiteY2" fmla="*/ 11211254 h 11218727"/>
              <a:gd name="connsiteX3" fmla="*/ 0 w 6704174"/>
              <a:gd name="connsiteY3" fmla="*/ 11218727 h 11218727"/>
              <a:gd name="connsiteX4" fmla="*/ 2814917 w 6704174"/>
              <a:gd name="connsiteY4" fmla="*/ 0 h 11218727"/>
              <a:gd name="connsiteX0" fmla="*/ 2814917 w 6704174"/>
              <a:gd name="connsiteY0" fmla="*/ 0 h 11218727"/>
              <a:gd name="connsiteX1" fmla="*/ 6704174 w 6704174"/>
              <a:gd name="connsiteY1" fmla="*/ 17930 h 11218727"/>
              <a:gd name="connsiteX2" fmla="*/ 6704173 w 6704174"/>
              <a:gd name="connsiteY2" fmla="*/ 11211254 h 11218727"/>
              <a:gd name="connsiteX3" fmla="*/ 0 w 6704174"/>
              <a:gd name="connsiteY3" fmla="*/ 11218727 h 11218727"/>
              <a:gd name="connsiteX4" fmla="*/ 2814917 w 6704174"/>
              <a:gd name="connsiteY4" fmla="*/ 0 h 11218727"/>
              <a:gd name="connsiteX0" fmla="*/ 2814917 w 6704174"/>
              <a:gd name="connsiteY0" fmla="*/ 0 h 11218727"/>
              <a:gd name="connsiteX1" fmla="*/ 6704174 w 6704174"/>
              <a:gd name="connsiteY1" fmla="*/ 17930 h 11218727"/>
              <a:gd name="connsiteX2" fmla="*/ 6704173 w 6704174"/>
              <a:gd name="connsiteY2" fmla="*/ 11175395 h 11218727"/>
              <a:gd name="connsiteX3" fmla="*/ 0 w 6704174"/>
              <a:gd name="connsiteY3" fmla="*/ 11218727 h 11218727"/>
              <a:gd name="connsiteX4" fmla="*/ 2814917 w 6704174"/>
              <a:gd name="connsiteY4" fmla="*/ 0 h 11218727"/>
              <a:gd name="connsiteX0" fmla="*/ 2814917 w 6704174"/>
              <a:gd name="connsiteY0" fmla="*/ 0 h 11218727"/>
              <a:gd name="connsiteX1" fmla="*/ 6704174 w 6704174"/>
              <a:gd name="connsiteY1" fmla="*/ 17930 h 11218727"/>
              <a:gd name="connsiteX2" fmla="*/ 6704173 w 6704174"/>
              <a:gd name="connsiteY2" fmla="*/ 11193325 h 11218727"/>
              <a:gd name="connsiteX3" fmla="*/ 0 w 6704174"/>
              <a:gd name="connsiteY3" fmla="*/ 11218727 h 11218727"/>
              <a:gd name="connsiteX4" fmla="*/ 2814917 w 6704174"/>
              <a:gd name="connsiteY4" fmla="*/ 0 h 112187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04174" h="11218727">
                <a:moveTo>
                  <a:pt x="2814917" y="0"/>
                </a:moveTo>
                <a:lnTo>
                  <a:pt x="6704174" y="17930"/>
                </a:lnTo>
                <a:cubicBezTo>
                  <a:pt x="6704174" y="3749038"/>
                  <a:pt x="6704173" y="7462217"/>
                  <a:pt x="6704173" y="11193325"/>
                </a:cubicBezTo>
                <a:lnTo>
                  <a:pt x="0" y="11218727"/>
                </a:lnTo>
                <a:lnTo>
                  <a:pt x="2814917" y="0"/>
                </a:lnTo>
                <a:close/>
              </a:path>
            </a:pathLst>
          </a:custGeom>
          <a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2398"/>
          </a:p>
        </p:txBody>
      </p:sp>
      <p:sp>
        <p:nvSpPr>
          <p:cNvPr id="12" name="Rectangle 39">
            <a:extLst>
              <a:ext uri="{FF2B5EF4-FFF2-40B4-BE49-F238E27FC236}">
                <a16:creationId xmlns:a16="http://schemas.microsoft.com/office/drawing/2014/main" id="{2AE0D405-C033-F047-A3BF-11BB174DBAE4}"/>
              </a:ext>
            </a:extLst>
          </p:cNvPr>
          <p:cNvSpPr/>
          <p:nvPr userDrawn="1"/>
        </p:nvSpPr>
        <p:spPr>
          <a:xfrm>
            <a:off x="-142505" y="-71251"/>
            <a:ext cx="7387424" cy="13894130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2814917 w 6345586"/>
              <a:gd name="connsiteY0" fmla="*/ 0 h 11247115"/>
              <a:gd name="connsiteX1" fmla="*/ 6345586 w 6345586"/>
              <a:gd name="connsiteY1" fmla="*/ 0 h 11247115"/>
              <a:gd name="connsiteX2" fmla="*/ 6345586 w 6345586"/>
              <a:gd name="connsiteY2" fmla="*/ 11229185 h 11247115"/>
              <a:gd name="connsiteX3" fmla="*/ 0 w 6345586"/>
              <a:gd name="connsiteY3" fmla="*/ 11247115 h 11247115"/>
              <a:gd name="connsiteX4" fmla="*/ 2814917 w 6345586"/>
              <a:gd name="connsiteY4" fmla="*/ 0 h 11247115"/>
              <a:gd name="connsiteX0" fmla="*/ 2814917 w 6345586"/>
              <a:gd name="connsiteY0" fmla="*/ 0 h 11229186"/>
              <a:gd name="connsiteX1" fmla="*/ 6345586 w 6345586"/>
              <a:gd name="connsiteY1" fmla="*/ 0 h 11229186"/>
              <a:gd name="connsiteX2" fmla="*/ 6345586 w 6345586"/>
              <a:gd name="connsiteY2" fmla="*/ 11229185 h 11229186"/>
              <a:gd name="connsiteX3" fmla="*/ 0 w 6345586"/>
              <a:gd name="connsiteY3" fmla="*/ 11229186 h 11229186"/>
              <a:gd name="connsiteX4" fmla="*/ 2814917 w 6345586"/>
              <a:gd name="connsiteY4" fmla="*/ 0 h 11229186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1933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620315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12738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8445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30667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0 w 6668316"/>
              <a:gd name="connsiteY0" fmla="*/ 71718 h 11229185"/>
              <a:gd name="connsiteX1" fmla="*/ 6668316 w 6668316"/>
              <a:gd name="connsiteY1" fmla="*/ 0 h 11229185"/>
              <a:gd name="connsiteX2" fmla="*/ 3853397 w 6668316"/>
              <a:gd name="connsiteY2" fmla="*/ 11229185 h 11229185"/>
              <a:gd name="connsiteX3" fmla="*/ 322730 w 6668316"/>
              <a:gd name="connsiteY3" fmla="*/ 11218727 h 11229185"/>
              <a:gd name="connsiteX4" fmla="*/ 0 w 6668316"/>
              <a:gd name="connsiteY4" fmla="*/ 71718 h 11229185"/>
              <a:gd name="connsiteX0" fmla="*/ 0 w 6668316"/>
              <a:gd name="connsiteY0" fmla="*/ 17930 h 11229185"/>
              <a:gd name="connsiteX1" fmla="*/ 6668316 w 6668316"/>
              <a:gd name="connsiteY1" fmla="*/ 0 h 11229185"/>
              <a:gd name="connsiteX2" fmla="*/ 3853397 w 6668316"/>
              <a:gd name="connsiteY2" fmla="*/ 11229185 h 11229185"/>
              <a:gd name="connsiteX3" fmla="*/ 322730 w 6668316"/>
              <a:gd name="connsiteY3" fmla="*/ 11218727 h 11229185"/>
              <a:gd name="connsiteX4" fmla="*/ 0 w 6668316"/>
              <a:gd name="connsiteY4" fmla="*/ 17930 h 11229185"/>
              <a:gd name="connsiteX0" fmla="*/ 17929 w 6686245"/>
              <a:gd name="connsiteY0" fmla="*/ 17930 h 11229185"/>
              <a:gd name="connsiteX1" fmla="*/ 6686245 w 6686245"/>
              <a:gd name="connsiteY1" fmla="*/ 0 h 11229185"/>
              <a:gd name="connsiteX2" fmla="*/ 3871326 w 6686245"/>
              <a:gd name="connsiteY2" fmla="*/ 11229185 h 11229185"/>
              <a:gd name="connsiteX3" fmla="*/ 0 w 6686245"/>
              <a:gd name="connsiteY3" fmla="*/ 11218727 h 11229185"/>
              <a:gd name="connsiteX4" fmla="*/ 17929 w 6686245"/>
              <a:gd name="connsiteY4" fmla="*/ 17930 h 11229185"/>
              <a:gd name="connsiteX0" fmla="*/ 1726 w 6670042"/>
              <a:gd name="connsiteY0" fmla="*/ 17930 h 11229185"/>
              <a:gd name="connsiteX1" fmla="*/ 6670042 w 6670042"/>
              <a:gd name="connsiteY1" fmla="*/ 0 h 11229185"/>
              <a:gd name="connsiteX2" fmla="*/ 3855123 w 6670042"/>
              <a:gd name="connsiteY2" fmla="*/ 11229185 h 11229185"/>
              <a:gd name="connsiteX3" fmla="*/ 1726 w 6670042"/>
              <a:gd name="connsiteY3" fmla="*/ 11218727 h 11229185"/>
              <a:gd name="connsiteX4" fmla="*/ 1726 w 6670042"/>
              <a:gd name="connsiteY4" fmla="*/ 17930 h 11229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70042" h="11229185">
                <a:moveTo>
                  <a:pt x="1726" y="17930"/>
                </a:moveTo>
                <a:lnTo>
                  <a:pt x="6670042" y="0"/>
                </a:lnTo>
                <a:lnTo>
                  <a:pt x="3855123" y="11229185"/>
                </a:lnTo>
                <a:lnTo>
                  <a:pt x="1726" y="11218727"/>
                </a:lnTo>
                <a:cubicBezTo>
                  <a:pt x="7702" y="7485128"/>
                  <a:pt x="-4250" y="3751529"/>
                  <a:pt x="1726" y="17930"/>
                </a:cubicBezTo>
                <a:close/>
              </a:path>
            </a:pathLst>
          </a:custGeom>
          <a:blipFill dpi="0"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r="345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2398"/>
          </a:p>
        </p:txBody>
      </p:sp>
    </p:spTree>
    <p:extLst>
      <p:ext uri="{BB962C8B-B14F-4D97-AF65-F5344CB8AC3E}">
        <p14:creationId xmlns:p14="http://schemas.microsoft.com/office/powerpoint/2010/main" val="577569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Slant Imag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39">
            <a:extLst>
              <a:ext uri="{FF2B5EF4-FFF2-40B4-BE49-F238E27FC236}">
                <a16:creationId xmlns:a16="http://schemas.microsoft.com/office/drawing/2014/main" id="{CFB3542D-B2CE-684C-8705-B60939CD5644}"/>
              </a:ext>
            </a:extLst>
          </p:cNvPr>
          <p:cNvSpPr/>
          <p:nvPr userDrawn="1"/>
        </p:nvSpPr>
        <p:spPr>
          <a:xfrm>
            <a:off x="16752845" y="236736"/>
            <a:ext cx="7348962" cy="13220496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2814917 w 6345586"/>
              <a:gd name="connsiteY0" fmla="*/ 0 h 11247115"/>
              <a:gd name="connsiteX1" fmla="*/ 6345586 w 6345586"/>
              <a:gd name="connsiteY1" fmla="*/ 0 h 11247115"/>
              <a:gd name="connsiteX2" fmla="*/ 6345586 w 6345586"/>
              <a:gd name="connsiteY2" fmla="*/ 11229185 h 11247115"/>
              <a:gd name="connsiteX3" fmla="*/ 0 w 6345586"/>
              <a:gd name="connsiteY3" fmla="*/ 11247115 h 11247115"/>
              <a:gd name="connsiteX4" fmla="*/ 2814917 w 6345586"/>
              <a:gd name="connsiteY4" fmla="*/ 0 h 11247115"/>
              <a:gd name="connsiteX0" fmla="*/ 2814917 w 6345586"/>
              <a:gd name="connsiteY0" fmla="*/ 0 h 11229186"/>
              <a:gd name="connsiteX1" fmla="*/ 6345586 w 6345586"/>
              <a:gd name="connsiteY1" fmla="*/ 0 h 11229186"/>
              <a:gd name="connsiteX2" fmla="*/ 6345586 w 6345586"/>
              <a:gd name="connsiteY2" fmla="*/ 11229185 h 11229186"/>
              <a:gd name="connsiteX3" fmla="*/ 0 w 6345586"/>
              <a:gd name="connsiteY3" fmla="*/ 11229186 h 11229186"/>
              <a:gd name="connsiteX4" fmla="*/ 2814917 w 6345586"/>
              <a:gd name="connsiteY4" fmla="*/ 0 h 11229186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1933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620315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12738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8445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30667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560737"/>
              <a:gd name="connsiteY0" fmla="*/ 0 h 11218727"/>
              <a:gd name="connsiteX1" fmla="*/ 6345586 w 6560737"/>
              <a:gd name="connsiteY1" fmla="*/ 0 h 11218727"/>
              <a:gd name="connsiteX2" fmla="*/ 6560737 w 6560737"/>
              <a:gd name="connsiteY2" fmla="*/ 11211255 h 11218727"/>
              <a:gd name="connsiteX3" fmla="*/ 0 w 6560737"/>
              <a:gd name="connsiteY3" fmla="*/ 11218727 h 11218727"/>
              <a:gd name="connsiteX4" fmla="*/ 2814917 w 6560737"/>
              <a:gd name="connsiteY4" fmla="*/ 0 h 11218727"/>
              <a:gd name="connsiteX0" fmla="*/ 2814917 w 6560737"/>
              <a:gd name="connsiteY0" fmla="*/ 0 h 11218727"/>
              <a:gd name="connsiteX1" fmla="*/ 6345586 w 6560737"/>
              <a:gd name="connsiteY1" fmla="*/ 0 h 11218727"/>
              <a:gd name="connsiteX2" fmla="*/ 6560737 w 6560737"/>
              <a:gd name="connsiteY2" fmla="*/ 11211255 h 11218727"/>
              <a:gd name="connsiteX3" fmla="*/ 0 w 6560737"/>
              <a:gd name="connsiteY3" fmla="*/ 11218727 h 11218727"/>
              <a:gd name="connsiteX4" fmla="*/ 2814917 w 6560737"/>
              <a:gd name="connsiteY4" fmla="*/ 0 h 11218727"/>
              <a:gd name="connsiteX0" fmla="*/ 2814917 w 6632456"/>
              <a:gd name="connsiteY0" fmla="*/ 0 h 11218727"/>
              <a:gd name="connsiteX1" fmla="*/ 6632456 w 6632456"/>
              <a:gd name="connsiteY1" fmla="*/ 17930 h 11218727"/>
              <a:gd name="connsiteX2" fmla="*/ 6560737 w 6632456"/>
              <a:gd name="connsiteY2" fmla="*/ 11211255 h 11218727"/>
              <a:gd name="connsiteX3" fmla="*/ 0 w 6632456"/>
              <a:gd name="connsiteY3" fmla="*/ 11218727 h 11218727"/>
              <a:gd name="connsiteX4" fmla="*/ 2814917 w 6632456"/>
              <a:gd name="connsiteY4" fmla="*/ 0 h 11218727"/>
              <a:gd name="connsiteX0" fmla="*/ 2814917 w 6596597"/>
              <a:gd name="connsiteY0" fmla="*/ 0 h 11218727"/>
              <a:gd name="connsiteX1" fmla="*/ 6596597 w 6596597"/>
              <a:gd name="connsiteY1" fmla="*/ 17930 h 11218727"/>
              <a:gd name="connsiteX2" fmla="*/ 6560737 w 6596597"/>
              <a:gd name="connsiteY2" fmla="*/ 11211255 h 11218727"/>
              <a:gd name="connsiteX3" fmla="*/ 0 w 6596597"/>
              <a:gd name="connsiteY3" fmla="*/ 11218727 h 11218727"/>
              <a:gd name="connsiteX4" fmla="*/ 2814917 w 6596597"/>
              <a:gd name="connsiteY4" fmla="*/ 0 h 11218727"/>
              <a:gd name="connsiteX0" fmla="*/ 2814917 w 6650386"/>
              <a:gd name="connsiteY0" fmla="*/ 0 h 11218727"/>
              <a:gd name="connsiteX1" fmla="*/ 6650386 w 6650386"/>
              <a:gd name="connsiteY1" fmla="*/ 17930 h 11218727"/>
              <a:gd name="connsiteX2" fmla="*/ 6560737 w 6650386"/>
              <a:gd name="connsiteY2" fmla="*/ 11211255 h 11218727"/>
              <a:gd name="connsiteX3" fmla="*/ 0 w 6650386"/>
              <a:gd name="connsiteY3" fmla="*/ 11218727 h 11218727"/>
              <a:gd name="connsiteX4" fmla="*/ 2814917 w 6650386"/>
              <a:gd name="connsiteY4" fmla="*/ 0 h 11218727"/>
              <a:gd name="connsiteX0" fmla="*/ 2814917 w 6650386"/>
              <a:gd name="connsiteY0" fmla="*/ 0 h 11218727"/>
              <a:gd name="connsiteX1" fmla="*/ 6650386 w 6650386"/>
              <a:gd name="connsiteY1" fmla="*/ 17930 h 11218727"/>
              <a:gd name="connsiteX2" fmla="*/ 6650385 w 6650386"/>
              <a:gd name="connsiteY2" fmla="*/ 11211255 h 11218727"/>
              <a:gd name="connsiteX3" fmla="*/ 0 w 6650386"/>
              <a:gd name="connsiteY3" fmla="*/ 11218727 h 11218727"/>
              <a:gd name="connsiteX4" fmla="*/ 2814917 w 6650386"/>
              <a:gd name="connsiteY4" fmla="*/ 0 h 11218727"/>
              <a:gd name="connsiteX0" fmla="*/ 2814917 w 6650386"/>
              <a:gd name="connsiteY0" fmla="*/ 0 h 11218727"/>
              <a:gd name="connsiteX1" fmla="*/ 6650386 w 6650386"/>
              <a:gd name="connsiteY1" fmla="*/ 17930 h 11218727"/>
              <a:gd name="connsiteX2" fmla="*/ 6650385 w 6650386"/>
              <a:gd name="connsiteY2" fmla="*/ 11193325 h 11218727"/>
              <a:gd name="connsiteX3" fmla="*/ 0 w 6650386"/>
              <a:gd name="connsiteY3" fmla="*/ 11218727 h 11218727"/>
              <a:gd name="connsiteX4" fmla="*/ 2814917 w 6650386"/>
              <a:gd name="connsiteY4" fmla="*/ 0 h 11218727"/>
              <a:gd name="connsiteX0" fmla="*/ 2814917 w 6704174"/>
              <a:gd name="connsiteY0" fmla="*/ 0 h 11218727"/>
              <a:gd name="connsiteX1" fmla="*/ 6704174 w 6704174"/>
              <a:gd name="connsiteY1" fmla="*/ 17930 h 11218727"/>
              <a:gd name="connsiteX2" fmla="*/ 6650385 w 6704174"/>
              <a:gd name="connsiteY2" fmla="*/ 11193325 h 11218727"/>
              <a:gd name="connsiteX3" fmla="*/ 0 w 6704174"/>
              <a:gd name="connsiteY3" fmla="*/ 11218727 h 11218727"/>
              <a:gd name="connsiteX4" fmla="*/ 2814917 w 6704174"/>
              <a:gd name="connsiteY4" fmla="*/ 0 h 11218727"/>
              <a:gd name="connsiteX0" fmla="*/ 2814917 w 6650386"/>
              <a:gd name="connsiteY0" fmla="*/ 0 h 11218727"/>
              <a:gd name="connsiteX1" fmla="*/ 6650386 w 6650386"/>
              <a:gd name="connsiteY1" fmla="*/ 17930 h 11218727"/>
              <a:gd name="connsiteX2" fmla="*/ 6650385 w 6650386"/>
              <a:gd name="connsiteY2" fmla="*/ 11193325 h 11218727"/>
              <a:gd name="connsiteX3" fmla="*/ 0 w 6650386"/>
              <a:gd name="connsiteY3" fmla="*/ 11218727 h 11218727"/>
              <a:gd name="connsiteX4" fmla="*/ 2814917 w 6650386"/>
              <a:gd name="connsiteY4" fmla="*/ 0 h 11218727"/>
              <a:gd name="connsiteX0" fmla="*/ 2814917 w 6704174"/>
              <a:gd name="connsiteY0" fmla="*/ 0 h 11218727"/>
              <a:gd name="connsiteX1" fmla="*/ 6704174 w 6704174"/>
              <a:gd name="connsiteY1" fmla="*/ 17930 h 11218727"/>
              <a:gd name="connsiteX2" fmla="*/ 6650385 w 6704174"/>
              <a:gd name="connsiteY2" fmla="*/ 11193325 h 11218727"/>
              <a:gd name="connsiteX3" fmla="*/ 0 w 6704174"/>
              <a:gd name="connsiteY3" fmla="*/ 11218727 h 11218727"/>
              <a:gd name="connsiteX4" fmla="*/ 2814917 w 6704174"/>
              <a:gd name="connsiteY4" fmla="*/ 0 h 11218727"/>
              <a:gd name="connsiteX0" fmla="*/ 2814917 w 6704174"/>
              <a:gd name="connsiteY0" fmla="*/ 0 h 11218727"/>
              <a:gd name="connsiteX1" fmla="*/ 6704174 w 6704174"/>
              <a:gd name="connsiteY1" fmla="*/ 17930 h 11218727"/>
              <a:gd name="connsiteX2" fmla="*/ 6704173 w 6704174"/>
              <a:gd name="connsiteY2" fmla="*/ 11211254 h 11218727"/>
              <a:gd name="connsiteX3" fmla="*/ 0 w 6704174"/>
              <a:gd name="connsiteY3" fmla="*/ 11218727 h 11218727"/>
              <a:gd name="connsiteX4" fmla="*/ 2814917 w 6704174"/>
              <a:gd name="connsiteY4" fmla="*/ 0 h 11218727"/>
              <a:gd name="connsiteX0" fmla="*/ 2814917 w 6704174"/>
              <a:gd name="connsiteY0" fmla="*/ 0 h 11218727"/>
              <a:gd name="connsiteX1" fmla="*/ 6704174 w 6704174"/>
              <a:gd name="connsiteY1" fmla="*/ 17930 h 11218727"/>
              <a:gd name="connsiteX2" fmla="*/ 6704173 w 6704174"/>
              <a:gd name="connsiteY2" fmla="*/ 11211254 h 11218727"/>
              <a:gd name="connsiteX3" fmla="*/ 0 w 6704174"/>
              <a:gd name="connsiteY3" fmla="*/ 11218727 h 11218727"/>
              <a:gd name="connsiteX4" fmla="*/ 2814917 w 6704174"/>
              <a:gd name="connsiteY4" fmla="*/ 0 h 11218727"/>
              <a:gd name="connsiteX0" fmla="*/ 2814917 w 6704174"/>
              <a:gd name="connsiteY0" fmla="*/ 0 h 11218727"/>
              <a:gd name="connsiteX1" fmla="*/ 6704174 w 6704174"/>
              <a:gd name="connsiteY1" fmla="*/ 17930 h 11218727"/>
              <a:gd name="connsiteX2" fmla="*/ 6704173 w 6704174"/>
              <a:gd name="connsiteY2" fmla="*/ 11175395 h 11218727"/>
              <a:gd name="connsiteX3" fmla="*/ 0 w 6704174"/>
              <a:gd name="connsiteY3" fmla="*/ 11218727 h 11218727"/>
              <a:gd name="connsiteX4" fmla="*/ 2814917 w 6704174"/>
              <a:gd name="connsiteY4" fmla="*/ 0 h 11218727"/>
              <a:gd name="connsiteX0" fmla="*/ 2814917 w 6704174"/>
              <a:gd name="connsiteY0" fmla="*/ 0 h 11218727"/>
              <a:gd name="connsiteX1" fmla="*/ 6704174 w 6704174"/>
              <a:gd name="connsiteY1" fmla="*/ 17930 h 11218727"/>
              <a:gd name="connsiteX2" fmla="*/ 6704173 w 6704174"/>
              <a:gd name="connsiteY2" fmla="*/ 11193325 h 11218727"/>
              <a:gd name="connsiteX3" fmla="*/ 0 w 6704174"/>
              <a:gd name="connsiteY3" fmla="*/ 11218727 h 11218727"/>
              <a:gd name="connsiteX4" fmla="*/ 2814917 w 6704174"/>
              <a:gd name="connsiteY4" fmla="*/ 0 h 112187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04174" h="11218727">
                <a:moveTo>
                  <a:pt x="2814917" y="0"/>
                </a:moveTo>
                <a:lnTo>
                  <a:pt x="6704174" y="17930"/>
                </a:lnTo>
                <a:cubicBezTo>
                  <a:pt x="6704174" y="3749038"/>
                  <a:pt x="6704173" y="7462217"/>
                  <a:pt x="6704173" y="11193325"/>
                </a:cubicBezTo>
                <a:lnTo>
                  <a:pt x="0" y="11218727"/>
                </a:lnTo>
                <a:lnTo>
                  <a:pt x="2814917" y="0"/>
                </a:lnTo>
                <a:close/>
              </a:path>
            </a:pathLst>
          </a:cu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t="7" b="7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800"/>
          </a:p>
        </p:txBody>
      </p:sp>
      <p:sp>
        <p:nvSpPr>
          <p:cNvPr id="13" name="Rectangle 39">
            <a:extLst>
              <a:ext uri="{FF2B5EF4-FFF2-40B4-BE49-F238E27FC236}">
                <a16:creationId xmlns:a16="http://schemas.microsoft.com/office/drawing/2014/main" id="{3BC3E2CA-F3E4-B946-A862-E5649B965919}"/>
              </a:ext>
            </a:extLst>
          </p:cNvPr>
          <p:cNvSpPr/>
          <p:nvPr userDrawn="1"/>
        </p:nvSpPr>
        <p:spPr>
          <a:xfrm>
            <a:off x="12698483" y="236743"/>
            <a:ext cx="6926980" cy="13220498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2814917 w 6345586"/>
              <a:gd name="connsiteY0" fmla="*/ 0 h 11247115"/>
              <a:gd name="connsiteX1" fmla="*/ 6345586 w 6345586"/>
              <a:gd name="connsiteY1" fmla="*/ 0 h 11247115"/>
              <a:gd name="connsiteX2" fmla="*/ 6345586 w 6345586"/>
              <a:gd name="connsiteY2" fmla="*/ 11229185 h 11247115"/>
              <a:gd name="connsiteX3" fmla="*/ 0 w 6345586"/>
              <a:gd name="connsiteY3" fmla="*/ 11247115 h 11247115"/>
              <a:gd name="connsiteX4" fmla="*/ 2814917 w 6345586"/>
              <a:gd name="connsiteY4" fmla="*/ 0 h 11247115"/>
              <a:gd name="connsiteX0" fmla="*/ 2814917 w 6345586"/>
              <a:gd name="connsiteY0" fmla="*/ 0 h 11229186"/>
              <a:gd name="connsiteX1" fmla="*/ 6345586 w 6345586"/>
              <a:gd name="connsiteY1" fmla="*/ 0 h 11229186"/>
              <a:gd name="connsiteX2" fmla="*/ 6345586 w 6345586"/>
              <a:gd name="connsiteY2" fmla="*/ 11229185 h 11229186"/>
              <a:gd name="connsiteX3" fmla="*/ 0 w 6345586"/>
              <a:gd name="connsiteY3" fmla="*/ 11229186 h 11229186"/>
              <a:gd name="connsiteX4" fmla="*/ 2814917 w 6345586"/>
              <a:gd name="connsiteY4" fmla="*/ 0 h 11229186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1933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620315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12738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8445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30667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45586" h="11229185">
                <a:moveTo>
                  <a:pt x="2814917" y="0"/>
                </a:moveTo>
                <a:lnTo>
                  <a:pt x="6345586" y="0"/>
                </a:lnTo>
                <a:lnTo>
                  <a:pt x="3530667" y="11229185"/>
                </a:lnTo>
                <a:lnTo>
                  <a:pt x="0" y="11218727"/>
                </a:lnTo>
                <a:lnTo>
                  <a:pt x="2814917" y="0"/>
                </a:lnTo>
                <a:close/>
              </a:path>
            </a:pathLst>
          </a:custGeo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t="7" b="7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800"/>
          </a:p>
        </p:txBody>
      </p:sp>
      <p:sp>
        <p:nvSpPr>
          <p:cNvPr id="14" name="Rectangle 39">
            <a:extLst>
              <a:ext uri="{FF2B5EF4-FFF2-40B4-BE49-F238E27FC236}">
                <a16:creationId xmlns:a16="http://schemas.microsoft.com/office/drawing/2014/main" id="{21A7EABA-2369-0642-871D-312192B0F17F}"/>
              </a:ext>
            </a:extLst>
          </p:cNvPr>
          <p:cNvSpPr/>
          <p:nvPr userDrawn="1"/>
        </p:nvSpPr>
        <p:spPr>
          <a:xfrm>
            <a:off x="227448" y="264230"/>
            <a:ext cx="7281162" cy="13237064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2814917 w 6345586"/>
              <a:gd name="connsiteY0" fmla="*/ 0 h 11247115"/>
              <a:gd name="connsiteX1" fmla="*/ 6345586 w 6345586"/>
              <a:gd name="connsiteY1" fmla="*/ 0 h 11247115"/>
              <a:gd name="connsiteX2" fmla="*/ 6345586 w 6345586"/>
              <a:gd name="connsiteY2" fmla="*/ 11229185 h 11247115"/>
              <a:gd name="connsiteX3" fmla="*/ 0 w 6345586"/>
              <a:gd name="connsiteY3" fmla="*/ 11247115 h 11247115"/>
              <a:gd name="connsiteX4" fmla="*/ 2814917 w 6345586"/>
              <a:gd name="connsiteY4" fmla="*/ 0 h 11247115"/>
              <a:gd name="connsiteX0" fmla="*/ 2814917 w 6345586"/>
              <a:gd name="connsiteY0" fmla="*/ 0 h 11229186"/>
              <a:gd name="connsiteX1" fmla="*/ 6345586 w 6345586"/>
              <a:gd name="connsiteY1" fmla="*/ 0 h 11229186"/>
              <a:gd name="connsiteX2" fmla="*/ 6345586 w 6345586"/>
              <a:gd name="connsiteY2" fmla="*/ 11229185 h 11229186"/>
              <a:gd name="connsiteX3" fmla="*/ 0 w 6345586"/>
              <a:gd name="connsiteY3" fmla="*/ 11229186 h 11229186"/>
              <a:gd name="connsiteX4" fmla="*/ 2814917 w 6345586"/>
              <a:gd name="connsiteY4" fmla="*/ 0 h 11229186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1933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620315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12738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8445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30667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0 w 6668316"/>
              <a:gd name="connsiteY0" fmla="*/ 71718 h 11229185"/>
              <a:gd name="connsiteX1" fmla="*/ 6668316 w 6668316"/>
              <a:gd name="connsiteY1" fmla="*/ 0 h 11229185"/>
              <a:gd name="connsiteX2" fmla="*/ 3853397 w 6668316"/>
              <a:gd name="connsiteY2" fmla="*/ 11229185 h 11229185"/>
              <a:gd name="connsiteX3" fmla="*/ 322730 w 6668316"/>
              <a:gd name="connsiteY3" fmla="*/ 11218727 h 11229185"/>
              <a:gd name="connsiteX4" fmla="*/ 0 w 6668316"/>
              <a:gd name="connsiteY4" fmla="*/ 71718 h 11229185"/>
              <a:gd name="connsiteX0" fmla="*/ 0 w 6668316"/>
              <a:gd name="connsiteY0" fmla="*/ 17930 h 11229185"/>
              <a:gd name="connsiteX1" fmla="*/ 6668316 w 6668316"/>
              <a:gd name="connsiteY1" fmla="*/ 0 h 11229185"/>
              <a:gd name="connsiteX2" fmla="*/ 3853397 w 6668316"/>
              <a:gd name="connsiteY2" fmla="*/ 11229185 h 11229185"/>
              <a:gd name="connsiteX3" fmla="*/ 322730 w 6668316"/>
              <a:gd name="connsiteY3" fmla="*/ 11218727 h 11229185"/>
              <a:gd name="connsiteX4" fmla="*/ 0 w 6668316"/>
              <a:gd name="connsiteY4" fmla="*/ 17930 h 11229185"/>
              <a:gd name="connsiteX0" fmla="*/ 17929 w 6686245"/>
              <a:gd name="connsiteY0" fmla="*/ 17930 h 11229185"/>
              <a:gd name="connsiteX1" fmla="*/ 6686245 w 6686245"/>
              <a:gd name="connsiteY1" fmla="*/ 0 h 11229185"/>
              <a:gd name="connsiteX2" fmla="*/ 3871326 w 6686245"/>
              <a:gd name="connsiteY2" fmla="*/ 11229185 h 11229185"/>
              <a:gd name="connsiteX3" fmla="*/ 0 w 6686245"/>
              <a:gd name="connsiteY3" fmla="*/ 11218727 h 11229185"/>
              <a:gd name="connsiteX4" fmla="*/ 17929 w 6686245"/>
              <a:gd name="connsiteY4" fmla="*/ 17930 h 11229185"/>
              <a:gd name="connsiteX0" fmla="*/ 1726 w 6670042"/>
              <a:gd name="connsiteY0" fmla="*/ 17930 h 11229185"/>
              <a:gd name="connsiteX1" fmla="*/ 6670042 w 6670042"/>
              <a:gd name="connsiteY1" fmla="*/ 0 h 11229185"/>
              <a:gd name="connsiteX2" fmla="*/ 3855123 w 6670042"/>
              <a:gd name="connsiteY2" fmla="*/ 11229185 h 11229185"/>
              <a:gd name="connsiteX3" fmla="*/ 1726 w 6670042"/>
              <a:gd name="connsiteY3" fmla="*/ 11218727 h 11229185"/>
              <a:gd name="connsiteX4" fmla="*/ 1726 w 6670042"/>
              <a:gd name="connsiteY4" fmla="*/ 17930 h 11229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70042" h="11229185">
                <a:moveTo>
                  <a:pt x="1726" y="17930"/>
                </a:moveTo>
                <a:lnTo>
                  <a:pt x="6670042" y="0"/>
                </a:lnTo>
                <a:lnTo>
                  <a:pt x="3855123" y="11229185"/>
                </a:lnTo>
                <a:lnTo>
                  <a:pt x="1726" y="11218727"/>
                </a:lnTo>
                <a:cubicBezTo>
                  <a:pt x="7702" y="7485128"/>
                  <a:pt x="-4250" y="3751529"/>
                  <a:pt x="1726" y="17930"/>
                </a:cubicBezTo>
                <a:close/>
              </a:path>
            </a:pathLst>
          </a:custGeo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t="2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800"/>
          </a:p>
        </p:txBody>
      </p:sp>
      <p:sp>
        <p:nvSpPr>
          <p:cNvPr id="15" name="Rectangle 39">
            <a:extLst>
              <a:ext uri="{FF2B5EF4-FFF2-40B4-BE49-F238E27FC236}">
                <a16:creationId xmlns:a16="http://schemas.microsoft.com/office/drawing/2014/main" id="{163D95A0-1322-844B-BE56-D4E07E45CC6E}"/>
              </a:ext>
            </a:extLst>
          </p:cNvPr>
          <p:cNvSpPr/>
          <p:nvPr userDrawn="1"/>
        </p:nvSpPr>
        <p:spPr>
          <a:xfrm>
            <a:off x="4646842" y="261501"/>
            <a:ext cx="6926980" cy="13242526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2814917 w 6345586"/>
              <a:gd name="connsiteY0" fmla="*/ 0 h 11247115"/>
              <a:gd name="connsiteX1" fmla="*/ 6345586 w 6345586"/>
              <a:gd name="connsiteY1" fmla="*/ 0 h 11247115"/>
              <a:gd name="connsiteX2" fmla="*/ 6345586 w 6345586"/>
              <a:gd name="connsiteY2" fmla="*/ 11229185 h 11247115"/>
              <a:gd name="connsiteX3" fmla="*/ 0 w 6345586"/>
              <a:gd name="connsiteY3" fmla="*/ 11247115 h 11247115"/>
              <a:gd name="connsiteX4" fmla="*/ 2814917 w 6345586"/>
              <a:gd name="connsiteY4" fmla="*/ 0 h 11247115"/>
              <a:gd name="connsiteX0" fmla="*/ 2814917 w 6345586"/>
              <a:gd name="connsiteY0" fmla="*/ 0 h 11229186"/>
              <a:gd name="connsiteX1" fmla="*/ 6345586 w 6345586"/>
              <a:gd name="connsiteY1" fmla="*/ 0 h 11229186"/>
              <a:gd name="connsiteX2" fmla="*/ 6345586 w 6345586"/>
              <a:gd name="connsiteY2" fmla="*/ 11229185 h 11229186"/>
              <a:gd name="connsiteX3" fmla="*/ 0 w 6345586"/>
              <a:gd name="connsiteY3" fmla="*/ 11229186 h 11229186"/>
              <a:gd name="connsiteX4" fmla="*/ 2814917 w 6345586"/>
              <a:gd name="connsiteY4" fmla="*/ 0 h 11229186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1933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620315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12738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8445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30667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45586" h="11229185">
                <a:moveTo>
                  <a:pt x="2814917" y="0"/>
                </a:moveTo>
                <a:lnTo>
                  <a:pt x="6345586" y="0"/>
                </a:lnTo>
                <a:lnTo>
                  <a:pt x="3530667" y="11229185"/>
                </a:lnTo>
                <a:lnTo>
                  <a:pt x="0" y="11218727"/>
                </a:lnTo>
                <a:lnTo>
                  <a:pt x="2814917" y="0"/>
                </a:lnTo>
                <a:close/>
              </a:path>
            </a:pathLst>
          </a:custGeo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t="20" b="2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800"/>
          </a:p>
        </p:txBody>
      </p:sp>
      <p:sp>
        <p:nvSpPr>
          <p:cNvPr id="16" name="Rectangle 39">
            <a:extLst>
              <a:ext uri="{FF2B5EF4-FFF2-40B4-BE49-F238E27FC236}">
                <a16:creationId xmlns:a16="http://schemas.microsoft.com/office/drawing/2014/main" id="{EAB5D1A8-60D7-8F4D-AB3B-0CBB7CD5B00A}"/>
              </a:ext>
            </a:extLst>
          </p:cNvPr>
          <p:cNvSpPr>
            <a:spLocks/>
          </p:cNvSpPr>
          <p:nvPr userDrawn="1"/>
        </p:nvSpPr>
        <p:spPr>
          <a:xfrm>
            <a:off x="8672662" y="214713"/>
            <a:ext cx="6931153" cy="13242526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2814917 w 6345586"/>
              <a:gd name="connsiteY0" fmla="*/ 0 h 11247115"/>
              <a:gd name="connsiteX1" fmla="*/ 6345586 w 6345586"/>
              <a:gd name="connsiteY1" fmla="*/ 0 h 11247115"/>
              <a:gd name="connsiteX2" fmla="*/ 6345586 w 6345586"/>
              <a:gd name="connsiteY2" fmla="*/ 11229185 h 11247115"/>
              <a:gd name="connsiteX3" fmla="*/ 0 w 6345586"/>
              <a:gd name="connsiteY3" fmla="*/ 11247115 h 11247115"/>
              <a:gd name="connsiteX4" fmla="*/ 2814917 w 6345586"/>
              <a:gd name="connsiteY4" fmla="*/ 0 h 11247115"/>
              <a:gd name="connsiteX0" fmla="*/ 2814917 w 6345586"/>
              <a:gd name="connsiteY0" fmla="*/ 0 h 11229186"/>
              <a:gd name="connsiteX1" fmla="*/ 6345586 w 6345586"/>
              <a:gd name="connsiteY1" fmla="*/ 0 h 11229186"/>
              <a:gd name="connsiteX2" fmla="*/ 6345586 w 6345586"/>
              <a:gd name="connsiteY2" fmla="*/ 11229185 h 11229186"/>
              <a:gd name="connsiteX3" fmla="*/ 0 w 6345586"/>
              <a:gd name="connsiteY3" fmla="*/ 11229186 h 11229186"/>
              <a:gd name="connsiteX4" fmla="*/ 2814917 w 6345586"/>
              <a:gd name="connsiteY4" fmla="*/ 0 h 11229186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1933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620315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12738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8445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30667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45586" h="11229185">
                <a:moveTo>
                  <a:pt x="2814917" y="0"/>
                </a:moveTo>
                <a:lnTo>
                  <a:pt x="6345586" y="0"/>
                </a:lnTo>
                <a:lnTo>
                  <a:pt x="3530667" y="11229185"/>
                </a:lnTo>
                <a:lnTo>
                  <a:pt x="0" y="11218727"/>
                </a:lnTo>
                <a:lnTo>
                  <a:pt x="2814917" y="0"/>
                </a:lnTo>
                <a:close/>
              </a:path>
            </a:pathLst>
          </a:custGeom>
          <a:blipFill dpi="0"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80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EDAB5E6-686B-E44D-93BE-82E3AA481A56}"/>
              </a:ext>
            </a:extLst>
          </p:cNvPr>
          <p:cNvSpPr/>
          <p:nvPr userDrawn="1"/>
        </p:nvSpPr>
        <p:spPr>
          <a:xfrm>
            <a:off x="3178" y="6695116"/>
            <a:ext cx="24377650" cy="73847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794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658C4F4-D78A-4541-8CE7-E43B3923BF16}"/>
              </a:ext>
            </a:extLst>
          </p:cNvPr>
          <p:cNvSpPr txBox="1"/>
          <p:nvPr userDrawn="1"/>
        </p:nvSpPr>
        <p:spPr>
          <a:xfrm>
            <a:off x="669128" y="6644323"/>
            <a:ext cx="4625881" cy="83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794">
                <a:solidFill>
                  <a:srgbClr val="92D050"/>
                </a:solidFill>
                <a:latin typeface="+mj-lt"/>
              </a:rPr>
              <a:t>ARIAL 24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E0296C4-CC40-2447-A26F-7DC1016B2FCC}"/>
              </a:ext>
            </a:extLst>
          </p:cNvPr>
          <p:cNvSpPr txBox="1"/>
          <p:nvPr userDrawn="1"/>
        </p:nvSpPr>
        <p:spPr>
          <a:xfrm>
            <a:off x="18132603" y="6644321"/>
            <a:ext cx="6023959" cy="83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794">
                <a:solidFill>
                  <a:srgbClr val="92D050"/>
                </a:solidFill>
              </a:rPr>
              <a:t>ARIAL 24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381668F-CE8E-2643-B109-A785A6492A1B}"/>
              </a:ext>
            </a:extLst>
          </p:cNvPr>
          <p:cNvSpPr txBox="1"/>
          <p:nvPr userDrawn="1"/>
        </p:nvSpPr>
        <p:spPr>
          <a:xfrm>
            <a:off x="6244588" y="6644323"/>
            <a:ext cx="3702948" cy="83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794">
                <a:solidFill>
                  <a:srgbClr val="92D050"/>
                </a:solidFill>
              </a:rPr>
              <a:t>ARIAL 24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7DC21EB-94F0-B240-A58A-7759CC51B957}"/>
              </a:ext>
            </a:extLst>
          </p:cNvPr>
          <p:cNvSpPr txBox="1"/>
          <p:nvPr userDrawn="1"/>
        </p:nvSpPr>
        <p:spPr>
          <a:xfrm>
            <a:off x="10319768" y="6644323"/>
            <a:ext cx="3702948" cy="83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794">
                <a:solidFill>
                  <a:srgbClr val="92D050"/>
                </a:solidFill>
              </a:rPr>
              <a:t>ARIAL 24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0106904-5D7A-DD49-A3A3-EEDD6C7B5E61}"/>
              </a:ext>
            </a:extLst>
          </p:cNvPr>
          <p:cNvSpPr txBox="1"/>
          <p:nvPr userDrawn="1"/>
        </p:nvSpPr>
        <p:spPr>
          <a:xfrm>
            <a:off x="14196695" y="6644323"/>
            <a:ext cx="3702948" cy="83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794">
                <a:solidFill>
                  <a:srgbClr val="92D050"/>
                </a:solidFill>
              </a:rPr>
              <a:t>ARIAL 24</a:t>
            </a:r>
          </a:p>
        </p:txBody>
      </p:sp>
    </p:spTree>
    <p:extLst>
      <p:ext uri="{BB962C8B-B14F-4D97-AF65-F5344CB8AC3E}">
        <p14:creationId xmlns:p14="http://schemas.microsoft.com/office/powerpoint/2010/main" val="1173145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500"/>
                            </p:stCondLst>
                            <p:childTnLst>
                              <p:par>
                                <p:cTn id="30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000"/>
                            </p:stCondLst>
                            <p:childTnLst>
                              <p:par>
                                <p:cTn id="3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3500"/>
                            </p:stCondLst>
                            <p:childTnLst>
                              <p:par>
                                <p:cTn id="40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4000"/>
                            </p:stCondLst>
                            <p:childTnLst>
                              <p:par>
                                <p:cTn id="4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4500"/>
                            </p:stCondLst>
                            <p:childTnLst>
                              <p:par>
                                <p:cTn id="50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13" grpId="0" animBg="1"/>
      <p:bldP spid="14" grpId="0" animBg="1"/>
      <p:bldP spid="15" grpId="0" animBg="1"/>
      <p:bldP spid="16" grpId="0" animBg="1"/>
      <p:bldP spid="18" grpId="0"/>
      <p:bldP spid="19" grpId="0"/>
      <p:bldP spid="20" grpId="0"/>
      <p:bldP spid="21" grpId="0"/>
      <p:bldP spid="22" grpId="0"/>
    </p:bld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Image Dataspher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0" hasCustomPrompt="1"/>
          </p:nvPr>
        </p:nvSpPr>
        <p:spPr>
          <a:xfrm>
            <a:off x="-162382" y="-167167"/>
            <a:ext cx="5261326" cy="5256606"/>
          </a:xfrm>
          <a:prstGeom prst="ellipse">
            <a:avLst/>
          </a:prstGeom>
        </p:spPr>
        <p:txBody>
          <a:bodyPr anchor="ctr"/>
          <a:lstStyle>
            <a:lvl1pPr algn="ctr">
              <a:defRPr sz="2000"/>
            </a:lvl1pPr>
          </a:lstStyle>
          <a:p>
            <a:r>
              <a:rPr lang="en-US"/>
              <a:t>Click Icon to Change Photo</a:t>
            </a:r>
          </a:p>
        </p:txBody>
      </p:sp>
      <p:sp>
        <p:nvSpPr>
          <p:cNvPr id="15" name="Picture Placeholder 13"/>
          <p:cNvSpPr>
            <a:spLocks noGrp="1"/>
          </p:cNvSpPr>
          <p:nvPr>
            <p:ph type="pic" sz="quarter" idx="11" hasCustomPrompt="1"/>
          </p:nvPr>
        </p:nvSpPr>
        <p:spPr>
          <a:xfrm>
            <a:off x="3784768" y="4229699"/>
            <a:ext cx="5261326" cy="5256606"/>
          </a:xfrm>
          <a:prstGeom prst="ellipse">
            <a:avLst/>
          </a:prstGeom>
        </p:spPr>
        <p:txBody>
          <a:bodyPr anchor="ctr"/>
          <a:lstStyle>
            <a:lvl1pPr marL="0" marR="0" indent="0" algn="ctr" defTabSz="1086684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/>
            </a:lvl1pPr>
          </a:lstStyle>
          <a:p>
            <a:pPr marL="0" marR="0" lvl="0" indent="0" algn="ctr" defTabSz="1086684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Icon to Change Photo</a:t>
            </a:r>
          </a:p>
          <a:p>
            <a:endParaRPr lang="en-US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12" hasCustomPrompt="1"/>
          </p:nvPr>
        </p:nvSpPr>
        <p:spPr>
          <a:xfrm>
            <a:off x="8455578" y="1578575"/>
            <a:ext cx="4715932" cy="4711702"/>
          </a:xfrm>
          <a:prstGeom prst="ellipse">
            <a:avLst/>
          </a:prstGeom>
        </p:spPr>
        <p:txBody>
          <a:bodyPr anchor="ctr"/>
          <a:lstStyle>
            <a:lvl1pPr marL="0" marR="0" indent="0" algn="ctr" defTabSz="1086684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/>
            </a:lvl1pPr>
          </a:lstStyle>
          <a:p>
            <a:pPr marL="0" marR="0" lvl="0" indent="0" algn="ctr" defTabSz="1086684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Icon to Change Photo</a:t>
            </a:r>
          </a:p>
          <a:p>
            <a:endParaRPr lang="en-US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3" hasCustomPrompt="1"/>
          </p:nvPr>
        </p:nvSpPr>
        <p:spPr>
          <a:xfrm>
            <a:off x="383010" y="8626565"/>
            <a:ext cx="4715932" cy="4711702"/>
          </a:xfrm>
          <a:prstGeom prst="ellipse">
            <a:avLst/>
          </a:prstGeom>
        </p:spPr>
        <p:txBody>
          <a:bodyPr anchor="ctr"/>
          <a:lstStyle>
            <a:lvl1pPr marL="0" marR="0" indent="0" algn="ctr" defTabSz="1086684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/>
            </a:lvl1pPr>
          </a:lstStyle>
          <a:p>
            <a:pPr marL="0" marR="0" lvl="0" indent="0" algn="ctr" defTabSz="1086684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Icon to Change Photo</a:t>
            </a:r>
          </a:p>
          <a:p>
            <a:endParaRPr lang="en-US"/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14" hasCustomPrompt="1"/>
          </p:nvPr>
        </p:nvSpPr>
        <p:spPr>
          <a:xfrm>
            <a:off x="9088056" y="7732042"/>
            <a:ext cx="3634032" cy="3658204"/>
          </a:xfrm>
          <a:prstGeom prst="ellipse">
            <a:avLst/>
          </a:prstGeom>
        </p:spPr>
        <p:txBody>
          <a:bodyPr anchor="ctr"/>
          <a:lstStyle>
            <a:lvl1pPr marL="0" marR="0" indent="0" algn="ctr" defTabSz="1086684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/>
            </a:lvl1pPr>
          </a:lstStyle>
          <a:p>
            <a:pPr marL="0" marR="0" lvl="0" indent="0" algn="ctr" defTabSz="1086684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Icon to Change Photo</a:t>
            </a:r>
          </a:p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C331936-CCB6-774F-9FAB-B9064684F5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42174" y="6093614"/>
            <a:ext cx="14330002" cy="1595504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r>
              <a:rPr lang="en-US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3509844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fographic—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A7A91A92-933D-5A4B-886E-0C52C5FC34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60739" y="2894109"/>
            <a:ext cx="22584277" cy="10313882"/>
          </a:xfrm>
          <a:prstGeom prst="rect">
            <a:avLst/>
          </a:prstGeom>
        </p:spPr>
      </p:pic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0D549A26-DA0B-3645-BE9C-C18C28220D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19203" y="742685"/>
            <a:ext cx="21726650" cy="1386098"/>
          </a:xfrm>
          <a:prstGeom prst="rect">
            <a:avLst/>
          </a:prstGeom>
          <a:noFill/>
        </p:spPr>
        <p:txBody>
          <a:bodyPr lIns="0" tIns="0" rIns="0" bIns="0" anchor="t" anchorCtr="0">
            <a:normAutofit/>
          </a:bodyPr>
          <a:lstStyle>
            <a:lvl1pPr algn="l">
              <a:defRPr sz="7198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Add Infographic Titl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DEAD0491-2533-5243-A3EE-7C9CE52F742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19200" y="5595432"/>
            <a:ext cx="2252729" cy="532236"/>
          </a:xfrm>
          <a:prstGeom prst="borderCallout2">
            <a:avLst>
              <a:gd name="adj1" fmla="val 50524"/>
              <a:gd name="adj2" fmla="val 100248"/>
              <a:gd name="adj3" fmla="val 51953"/>
              <a:gd name="adj4" fmla="val 109725"/>
              <a:gd name="adj5" fmla="val 80908"/>
              <a:gd name="adj6" fmla="val 123834"/>
            </a:avLst>
          </a:prstGeom>
          <a:ln cap="rnd">
            <a:solidFill>
              <a:schemeClr val="tx2"/>
            </a:solidFill>
            <a:tailEnd type="oval" w="sm" len="sm"/>
          </a:ln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defRPr sz="2400">
                <a:solidFill>
                  <a:schemeClr val="tx2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Map Callout</a:t>
            </a:r>
          </a:p>
        </p:txBody>
      </p:sp>
    </p:spTree>
    <p:extLst>
      <p:ext uri="{BB962C8B-B14F-4D97-AF65-F5344CB8AC3E}">
        <p14:creationId xmlns:p14="http://schemas.microsoft.com/office/powerpoint/2010/main" val="3646277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 Layout 1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A8F415-8DC4-4D92-96F4-F549CFC934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19203" y="549278"/>
            <a:ext cx="21945601" cy="2286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86A04374-DFCE-4ACC-9D06-44A24E770F33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219519" y="3937001"/>
            <a:ext cx="21725834" cy="8477250"/>
          </a:xfrm>
          <a:prstGeom prst="rect">
            <a:avLst/>
          </a:prstGeom>
        </p:spPr>
        <p:txBody>
          <a:bodyPr/>
          <a:lstStyle>
            <a:lvl1pPr marL="571328" indent="-571328">
              <a:buClr>
                <a:schemeClr val="bg2"/>
              </a:buClr>
              <a:buFont typeface="Arial" panose="020B0604020202020204" pitchFamily="34" charset="0"/>
              <a:buChar char="•"/>
              <a:defRPr/>
            </a:lvl1pPr>
            <a:lvl2pPr marL="1658012" indent="-571328" algn="l"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2744694" indent="-571328" algn="l">
              <a:buFont typeface="Wingdings" pitchFamily="2" charset="2"/>
              <a:buChar char="§"/>
              <a:defRPr>
                <a:latin typeface="+mn-lt"/>
              </a:defRPr>
            </a:lvl3pPr>
            <a:lvl4pPr marL="3831384" indent="-571328" algn="l">
              <a:buClr>
                <a:schemeClr val="bg2"/>
              </a:buClr>
              <a:buFont typeface="Wingdings" pitchFamily="2" charset="2"/>
              <a:buChar char="ü"/>
              <a:defRPr>
                <a:latin typeface="+mn-lt"/>
              </a:defRPr>
            </a:lvl4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3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3778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5 Sla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39">
            <a:extLst>
              <a:ext uri="{FF2B5EF4-FFF2-40B4-BE49-F238E27FC236}">
                <a16:creationId xmlns:a16="http://schemas.microsoft.com/office/drawing/2014/main" id="{57D737B4-B5B2-DF4C-AE4A-C68397194982}"/>
              </a:ext>
            </a:extLst>
          </p:cNvPr>
          <p:cNvSpPr/>
          <p:nvPr userDrawn="1"/>
        </p:nvSpPr>
        <p:spPr>
          <a:xfrm>
            <a:off x="8523034" y="-71251"/>
            <a:ext cx="7155247" cy="13894130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2814917 w 6345586"/>
              <a:gd name="connsiteY0" fmla="*/ 0 h 11247115"/>
              <a:gd name="connsiteX1" fmla="*/ 6345586 w 6345586"/>
              <a:gd name="connsiteY1" fmla="*/ 0 h 11247115"/>
              <a:gd name="connsiteX2" fmla="*/ 6345586 w 6345586"/>
              <a:gd name="connsiteY2" fmla="*/ 11229185 h 11247115"/>
              <a:gd name="connsiteX3" fmla="*/ 0 w 6345586"/>
              <a:gd name="connsiteY3" fmla="*/ 11247115 h 11247115"/>
              <a:gd name="connsiteX4" fmla="*/ 2814917 w 6345586"/>
              <a:gd name="connsiteY4" fmla="*/ 0 h 11247115"/>
              <a:gd name="connsiteX0" fmla="*/ 2814917 w 6345586"/>
              <a:gd name="connsiteY0" fmla="*/ 0 h 11229186"/>
              <a:gd name="connsiteX1" fmla="*/ 6345586 w 6345586"/>
              <a:gd name="connsiteY1" fmla="*/ 0 h 11229186"/>
              <a:gd name="connsiteX2" fmla="*/ 6345586 w 6345586"/>
              <a:gd name="connsiteY2" fmla="*/ 11229185 h 11229186"/>
              <a:gd name="connsiteX3" fmla="*/ 0 w 6345586"/>
              <a:gd name="connsiteY3" fmla="*/ 11229186 h 11229186"/>
              <a:gd name="connsiteX4" fmla="*/ 2814917 w 6345586"/>
              <a:gd name="connsiteY4" fmla="*/ 0 h 11229186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1933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620315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12738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8445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30667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45586" h="11229185">
                <a:moveTo>
                  <a:pt x="2814917" y="0"/>
                </a:moveTo>
                <a:lnTo>
                  <a:pt x="6345586" y="0"/>
                </a:lnTo>
                <a:lnTo>
                  <a:pt x="3530667" y="11229185"/>
                </a:lnTo>
                <a:lnTo>
                  <a:pt x="0" y="11218727"/>
                </a:lnTo>
                <a:lnTo>
                  <a:pt x="2814917" y="0"/>
                </a:lnTo>
                <a:close/>
              </a:path>
            </a:pathLst>
          </a:cu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2398"/>
          </a:p>
        </p:txBody>
      </p:sp>
      <p:sp>
        <p:nvSpPr>
          <p:cNvPr id="12" name="Rectangle 39">
            <a:extLst>
              <a:ext uri="{FF2B5EF4-FFF2-40B4-BE49-F238E27FC236}">
                <a16:creationId xmlns:a16="http://schemas.microsoft.com/office/drawing/2014/main" id="{2AE0D405-C033-F047-A3BF-11BB174DBAE4}"/>
              </a:ext>
            </a:extLst>
          </p:cNvPr>
          <p:cNvSpPr/>
          <p:nvPr userDrawn="1"/>
        </p:nvSpPr>
        <p:spPr>
          <a:xfrm>
            <a:off x="-142505" y="-71251"/>
            <a:ext cx="7387424" cy="13894130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2814917 w 6345586"/>
              <a:gd name="connsiteY0" fmla="*/ 0 h 11247115"/>
              <a:gd name="connsiteX1" fmla="*/ 6345586 w 6345586"/>
              <a:gd name="connsiteY1" fmla="*/ 0 h 11247115"/>
              <a:gd name="connsiteX2" fmla="*/ 6345586 w 6345586"/>
              <a:gd name="connsiteY2" fmla="*/ 11229185 h 11247115"/>
              <a:gd name="connsiteX3" fmla="*/ 0 w 6345586"/>
              <a:gd name="connsiteY3" fmla="*/ 11247115 h 11247115"/>
              <a:gd name="connsiteX4" fmla="*/ 2814917 w 6345586"/>
              <a:gd name="connsiteY4" fmla="*/ 0 h 11247115"/>
              <a:gd name="connsiteX0" fmla="*/ 2814917 w 6345586"/>
              <a:gd name="connsiteY0" fmla="*/ 0 h 11229186"/>
              <a:gd name="connsiteX1" fmla="*/ 6345586 w 6345586"/>
              <a:gd name="connsiteY1" fmla="*/ 0 h 11229186"/>
              <a:gd name="connsiteX2" fmla="*/ 6345586 w 6345586"/>
              <a:gd name="connsiteY2" fmla="*/ 11229185 h 11229186"/>
              <a:gd name="connsiteX3" fmla="*/ 0 w 6345586"/>
              <a:gd name="connsiteY3" fmla="*/ 11229186 h 11229186"/>
              <a:gd name="connsiteX4" fmla="*/ 2814917 w 6345586"/>
              <a:gd name="connsiteY4" fmla="*/ 0 h 11229186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1933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620315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12738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8445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30667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0 w 6668316"/>
              <a:gd name="connsiteY0" fmla="*/ 71718 h 11229185"/>
              <a:gd name="connsiteX1" fmla="*/ 6668316 w 6668316"/>
              <a:gd name="connsiteY1" fmla="*/ 0 h 11229185"/>
              <a:gd name="connsiteX2" fmla="*/ 3853397 w 6668316"/>
              <a:gd name="connsiteY2" fmla="*/ 11229185 h 11229185"/>
              <a:gd name="connsiteX3" fmla="*/ 322730 w 6668316"/>
              <a:gd name="connsiteY3" fmla="*/ 11218727 h 11229185"/>
              <a:gd name="connsiteX4" fmla="*/ 0 w 6668316"/>
              <a:gd name="connsiteY4" fmla="*/ 71718 h 11229185"/>
              <a:gd name="connsiteX0" fmla="*/ 0 w 6668316"/>
              <a:gd name="connsiteY0" fmla="*/ 17930 h 11229185"/>
              <a:gd name="connsiteX1" fmla="*/ 6668316 w 6668316"/>
              <a:gd name="connsiteY1" fmla="*/ 0 h 11229185"/>
              <a:gd name="connsiteX2" fmla="*/ 3853397 w 6668316"/>
              <a:gd name="connsiteY2" fmla="*/ 11229185 h 11229185"/>
              <a:gd name="connsiteX3" fmla="*/ 322730 w 6668316"/>
              <a:gd name="connsiteY3" fmla="*/ 11218727 h 11229185"/>
              <a:gd name="connsiteX4" fmla="*/ 0 w 6668316"/>
              <a:gd name="connsiteY4" fmla="*/ 17930 h 11229185"/>
              <a:gd name="connsiteX0" fmla="*/ 17929 w 6686245"/>
              <a:gd name="connsiteY0" fmla="*/ 17930 h 11229185"/>
              <a:gd name="connsiteX1" fmla="*/ 6686245 w 6686245"/>
              <a:gd name="connsiteY1" fmla="*/ 0 h 11229185"/>
              <a:gd name="connsiteX2" fmla="*/ 3871326 w 6686245"/>
              <a:gd name="connsiteY2" fmla="*/ 11229185 h 11229185"/>
              <a:gd name="connsiteX3" fmla="*/ 0 w 6686245"/>
              <a:gd name="connsiteY3" fmla="*/ 11218727 h 11229185"/>
              <a:gd name="connsiteX4" fmla="*/ 17929 w 6686245"/>
              <a:gd name="connsiteY4" fmla="*/ 17930 h 11229185"/>
              <a:gd name="connsiteX0" fmla="*/ 1726 w 6670042"/>
              <a:gd name="connsiteY0" fmla="*/ 17930 h 11229185"/>
              <a:gd name="connsiteX1" fmla="*/ 6670042 w 6670042"/>
              <a:gd name="connsiteY1" fmla="*/ 0 h 11229185"/>
              <a:gd name="connsiteX2" fmla="*/ 3855123 w 6670042"/>
              <a:gd name="connsiteY2" fmla="*/ 11229185 h 11229185"/>
              <a:gd name="connsiteX3" fmla="*/ 1726 w 6670042"/>
              <a:gd name="connsiteY3" fmla="*/ 11218727 h 11229185"/>
              <a:gd name="connsiteX4" fmla="*/ 1726 w 6670042"/>
              <a:gd name="connsiteY4" fmla="*/ 17930 h 11229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70042" h="11229185">
                <a:moveTo>
                  <a:pt x="1726" y="17930"/>
                </a:moveTo>
                <a:lnTo>
                  <a:pt x="6670042" y="0"/>
                </a:lnTo>
                <a:lnTo>
                  <a:pt x="3855123" y="11229185"/>
                </a:lnTo>
                <a:lnTo>
                  <a:pt x="1726" y="11218727"/>
                </a:lnTo>
                <a:cubicBezTo>
                  <a:pt x="7702" y="7485128"/>
                  <a:pt x="-4250" y="3751529"/>
                  <a:pt x="1726" y="17930"/>
                </a:cubicBezTo>
                <a:close/>
              </a:path>
            </a:pathLst>
          </a:custGeo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r="345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2398"/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0CCEDA4A-68AF-A18F-07D1-5C4BC126F3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585797" y="10051483"/>
            <a:ext cx="8705485" cy="1522890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RIAL 40</a:t>
            </a:r>
          </a:p>
        </p:txBody>
      </p:sp>
      <p:sp>
        <p:nvSpPr>
          <p:cNvPr id="3" name="Rectangle 39">
            <a:extLst>
              <a:ext uri="{FF2B5EF4-FFF2-40B4-BE49-F238E27FC236}">
                <a16:creationId xmlns:a16="http://schemas.microsoft.com/office/drawing/2014/main" id="{1D256920-EAFD-D3DD-A134-392EDAEC05DB}"/>
              </a:ext>
            </a:extLst>
          </p:cNvPr>
          <p:cNvSpPr>
            <a:spLocks/>
          </p:cNvSpPr>
          <p:nvPr userDrawn="1"/>
        </p:nvSpPr>
        <p:spPr>
          <a:xfrm>
            <a:off x="4306352" y="-71252"/>
            <a:ext cx="7155247" cy="13805064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2814917 w 6345586"/>
              <a:gd name="connsiteY0" fmla="*/ 0 h 11247115"/>
              <a:gd name="connsiteX1" fmla="*/ 6345586 w 6345586"/>
              <a:gd name="connsiteY1" fmla="*/ 0 h 11247115"/>
              <a:gd name="connsiteX2" fmla="*/ 6345586 w 6345586"/>
              <a:gd name="connsiteY2" fmla="*/ 11229185 h 11247115"/>
              <a:gd name="connsiteX3" fmla="*/ 0 w 6345586"/>
              <a:gd name="connsiteY3" fmla="*/ 11247115 h 11247115"/>
              <a:gd name="connsiteX4" fmla="*/ 2814917 w 6345586"/>
              <a:gd name="connsiteY4" fmla="*/ 0 h 11247115"/>
              <a:gd name="connsiteX0" fmla="*/ 2814917 w 6345586"/>
              <a:gd name="connsiteY0" fmla="*/ 0 h 11229186"/>
              <a:gd name="connsiteX1" fmla="*/ 6345586 w 6345586"/>
              <a:gd name="connsiteY1" fmla="*/ 0 h 11229186"/>
              <a:gd name="connsiteX2" fmla="*/ 6345586 w 6345586"/>
              <a:gd name="connsiteY2" fmla="*/ 11229185 h 11229186"/>
              <a:gd name="connsiteX3" fmla="*/ 0 w 6345586"/>
              <a:gd name="connsiteY3" fmla="*/ 11229186 h 11229186"/>
              <a:gd name="connsiteX4" fmla="*/ 2814917 w 6345586"/>
              <a:gd name="connsiteY4" fmla="*/ 0 h 11229186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1933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620315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12738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8445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30667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45586" h="11229185">
                <a:moveTo>
                  <a:pt x="2814917" y="0"/>
                </a:moveTo>
                <a:lnTo>
                  <a:pt x="6345586" y="0"/>
                </a:lnTo>
                <a:lnTo>
                  <a:pt x="3530667" y="11229185"/>
                </a:lnTo>
                <a:lnTo>
                  <a:pt x="0" y="11218727"/>
                </a:lnTo>
                <a:lnTo>
                  <a:pt x="2814917" y="0"/>
                </a:lnTo>
                <a:close/>
              </a:path>
            </a:pathLst>
          </a:custGeom>
          <a:blipFill dpi="0"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800"/>
          </a:p>
        </p:txBody>
      </p:sp>
    </p:spTree>
    <p:extLst>
      <p:ext uri="{BB962C8B-B14F-4D97-AF65-F5344CB8AC3E}">
        <p14:creationId xmlns:p14="http://schemas.microsoft.com/office/powerpoint/2010/main" val="4131339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0025464"/>
              </p:ext>
            </p:extLst>
          </p:nvPr>
        </p:nvGraphicFramePr>
        <p:xfrm>
          <a:off x="3178" y="3179"/>
          <a:ext cx="3175" cy="31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8" y="3179"/>
                        <a:ext cx="3175" cy="31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2A09FAF-36FC-448E-890E-061F32680BA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317501" cy="3175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998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21316007" y="103673"/>
            <a:ext cx="2463125" cy="1883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2435322"/>
            <a:endParaRPr lang="x-none" sz="1224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16233B29-20D2-4A24-8745-D16DA601205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66518" y="469735"/>
            <a:ext cx="23450967" cy="615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noProof="0"/>
              <a:t>Click to edit Master title style</a:t>
            </a:r>
            <a:endParaRPr lang="x-none" noProof="0" dirty="0"/>
          </a:p>
        </p:txBody>
      </p:sp>
    </p:spTree>
    <p:extLst>
      <p:ext uri="{BB962C8B-B14F-4D97-AF65-F5344CB8AC3E}">
        <p14:creationId xmlns:p14="http://schemas.microsoft.com/office/powerpoint/2010/main" val="11204375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537">
          <p15:clr>
            <a:srgbClr val="F26B43"/>
          </p15:clr>
        </p15:guide>
        <p15:guide id="2" pos="143">
          <p15:clr>
            <a:srgbClr val="F26B43"/>
          </p15:clr>
        </p15:guide>
        <p15:guide id="3" orient="horz" pos="701">
          <p15:clr>
            <a:srgbClr val="F26B43"/>
          </p15:clr>
        </p15:guide>
        <p15:guide id="4" orient="horz" pos="3991">
          <p15:clr>
            <a:srgbClr val="F26B43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New Way to Data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CF897098-21B1-AE4A-8061-5E0E4813C9D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" y="0"/>
            <a:ext cx="24384000" cy="13716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D3177733-DAB9-4C6E-3E71-A368451C702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1795" y="1099353"/>
            <a:ext cx="3959481" cy="34761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2865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Diagonal Stripes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9E1ACD31-8681-AB42-BE99-A14836DD9FA9}"/>
              </a:ext>
            </a:extLst>
          </p:cNvPr>
          <p:cNvSpPr/>
          <p:nvPr userDrawn="1"/>
        </p:nvSpPr>
        <p:spPr>
          <a:xfrm>
            <a:off x="-2684" y="0"/>
            <a:ext cx="24384000" cy="13716000"/>
          </a:xfrm>
          <a:prstGeom prst="rect">
            <a:avLst/>
          </a:prstGeom>
          <a:solidFill>
            <a:schemeClr val="tx1">
              <a:alpha val="50000"/>
            </a:schemeClr>
          </a:solidFill>
          <a:ln w="158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algn="ctr"/>
            <a:endParaRPr lang="en-US" sz="2800" b="1">
              <a:solidFill>
                <a:srgbClr val="000000"/>
              </a:solidFill>
            </a:endParaRPr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F515BD9C-CF62-C343-2867-80D4853AB1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34581" y="835515"/>
            <a:ext cx="22419200" cy="1127126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10866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198" b="1">
                <a:solidFill>
                  <a:schemeClr val="bg1"/>
                </a:solidFill>
                <a:latin typeface="+mj-lt"/>
              </a:defRPr>
            </a:lvl1pPr>
            <a:lvl2pPr>
              <a:defRPr b="1">
                <a:solidFill>
                  <a:schemeClr val="bg1"/>
                </a:solidFill>
                <a:latin typeface="+mj-lt"/>
              </a:defRPr>
            </a:lvl2pPr>
            <a:lvl3pPr>
              <a:defRPr b="1">
                <a:solidFill>
                  <a:schemeClr val="bg1"/>
                </a:solidFill>
                <a:latin typeface="+mj-lt"/>
              </a:defRPr>
            </a:lvl3pPr>
            <a:lvl4pPr>
              <a:defRPr b="1">
                <a:solidFill>
                  <a:schemeClr val="bg1"/>
                </a:solidFill>
                <a:latin typeface="+mj-lt"/>
              </a:defRPr>
            </a:lvl4pPr>
            <a:lvl5pPr>
              <a:defRPr b="1">
                <a:solidFill>
                  <a:schemeClr val="bg1"/>
                </a:solidFill>
                <a:latin typeface="+mj-lt"/>
              </a:defRPr>
            </a:lvl5pPr>
          </a:lstStyle>
          <a:p>
            <a:pPr marL="0" marR="0" lvl="0" indent="0" algn="l" defTabSz="1086684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Headline Titl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727A5DD-35E5-6D79-F79B-55C7015061EB}"/>
              </a:ext>
            </a:extLst>
          </p:cNvPr>
          <p:cNvSpPr txBox="1"/>
          <p:nvPr userDrawn="1"/>
        </p:nvSpPr>
        <p:spPr>
          <a:xfrm>
            <a:off x="21193759" y="12832249"/>
            <a:ext cx="236860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200">
                <a:solidFill>
                  <a:schemeClr val="tx2"/>
                </a:solidFill>
              </a:rPr>
              <a:t>Seagate  |</a:t>
            </a:r>
          </a:p>
        </p:txBody>
      </p:sp>
      <p:pic>
        <p:nvPicPr>
          <p:cNvPr id="4" name="Picture 3" descr="sgicon_transparent.png">
            <a:extLst>
              <a:ext uri="{FF2B5EF4-FFF2-40B4-BE49-F238E27FC236}">
                <a16:creationId xmlns:a16="http://schemas.microsoft.com/office/drawing/2014/main" id="{0E9CCE9A-290C-F07D-59C9-F6978273D2F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283011" y="12819022"/>
            <a:ext cx="648499" cy="549672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717ADB52-8632-1E9E-D9D1-CFB642BE929C}"/>
              </a:ext>
            </a:extLst>
          </p:cNvPr>
          <p:cNvSpPr txBox="1"/>
          <p:nvPr userDrawn="1"/>
        </p:nvSpPr>
        <p:spPr>
          <a:xfrm>
            <a:off x="23272291" y="12895309"/>
            <a:ext cx="73986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3EBF4A3-DF90-A145-ABFB-48E1A00C731F}" type="slidenum">
              <a:rPr kumimoji="0" lang="en-US" sz="1600" b="0" i="0" u="none" strike="noStrike" kern="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1513721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 Spread 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1219202" y="2128782"/>
            <a:ext cx="21726648" cy="70436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algn="ctr">
              <a:spcBef>
                <a:spcPts val="0"/>
              </a:spcBef>
              <a:defRPr lang="en-US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nter Subhead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219203" y="742685"/>
            <a:ext cx="21726650" cy="1386098"/>
          </a:xfrm>
          <a:prstGeom prst="rect">
            <a:avLst/>
          </a:prstGeom>
          <a:noFill/>
        </p:spPr>
        <p:txBody>
          <a:bodyPr lIns="0" tIns="0" rIns="0" bIns="0" anchor="t" anchorCtr="0">
            <a:norm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598A9C5-E36D-0B42-BC0E-501A970E7E1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414513" y="3478282"/>
            <a:ext cx="9668014" cy="9064624"/>
          </a:xfrm>
          <a:prstGeom prst="rect">
            <a:avLst/>
          </a:prstGeom>
        </p:spPr>
        <p:txBody>
          <a:bodyPr/>
          <a:lstStyle>
            <a:lvl1pPr marL="571328" indent="-571328">
              <a:buClr>
                <a:schemeClr val="bg2"/>
              </a:buClr>
              <a:buFont typeface="Arial" panose="020B0604020202020204" pitchFamily="34" charset="0"/>
              <a:buChar char="•"/>
              <a:defRPr/>
            </a:lvl1pPr>
            <a:lvl2pPr marL="1658012" indent="-571328" algn="l"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2744694" indent="-571328" algn="l">
              <a:buFont typeface="Wingdings" pitchFamily="2" charset="2"/>
              <a:buChar char="§"/>
              <a:defRPr>
                <a:latin typeface="+mn-lt"/>
              </a:defRPr>
            </a:lvl3pPr>
            <a:lvl4pPr marL="3831384" indent="-571328" algn="l">
              <a:buClr>
                <a:schemeClr val="bg2"/>
              </a:buClr>
              <a:buFont typeface="Wingdings" pitchFamily="2" charset="2"/>
              <a:buChar char="ü"/>
              <a:defRPr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C23D3C76-3A69-E94E-BE56-11EF9B11416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2896982" y="3445770"/>
            <a:ext cx="9668014" cy="9064624"/>
          </a:xfrm>
          <a:prstGeom prst="rect">
            <a:avLst/>
          </a:prstGeom>
        </p:spPr>
        <p:txBody>
          <a:bodyPr/>
          <a:lstStyle>
            <a:lvl1pPr marL="571328" indent="-571328">
              <a:buClr>
                <a:schemeClr val="bg2"/>
              </a:buClr>
              <a:buFont typeface="Arial" panose="020B0604020202020204" pitchFamily="34" charset="0"/>
              <a:buChar char="•"/>
              <a:defRPr/>
            </a:lvl1pPr>
            <a:lvl2pPr marL="1658012" indent="-571328" algn="l"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2744694" indent="-571328" algn="l">
              <a:buFont typeface="Wingdings" pitchFamily="2" charset="2"/>
              <a:buChar char="§"/>
              <a:defRPr>
                <a:latin typeface="+mn-lt"/>
              </a:defRPr>
            </a:lvl3pPr>
            <a:lvl4pPr marL="3831384" indent="-571328" algn="l">
              <a:buClr>
                <a:schemeClr val="bg2"/>
              </a:buClr>
              <a:buFont typeface="Wingdings" pitchFamily="2" charset="2"/>
              <a:buChar char="ü"/>
              <a:defRPr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0598250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 with Partner Log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3296224-6976-5F82-3F21-65CB6D7F3322}"/>
              </a:ext>
            </a:extLst>
          </p:cNvPr>
          <p:cNvSpPr/>
          <p:nvPr userDrawn="1"/>
        </p:nvSpPr>
        <p:spPr>
          <a:xfrm>
            <a:off x="1" y="0"/>
            <a:ext cx="24384000" cy="13716000"/>
          </a:xfrm>
          <a:prstGeom prst="rect">
            <a:avLst/>
          </a:prstGeom>
          <a:solidFill>
            <a:schemeClr val="tx1">
              <a:alpha val="60000"/>
            </a:schemeClr>
          </a:solidFill>
          <a:ln w="158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algn="ctr"/>
            <a:endParaRPr lang="en-US" sz="2800" b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7750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NWTD Data Cubes Bot Right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EA50CBAA-DB7E-7D46-9934-43334FD47170}"/>
              </a:ext>
            </a:extLst>
          </p:cNvPr>
          <p:cNvSpPr/>
          <p:nvPr userDrawn="1"/>
        </p:nvSpPr>
        <p:spPr>
          <a:xfrm>
            <a:off x="484743" y="1388129"/>
            <a:ext cx="925419" cy="859314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>
              <a:latin typeface="Open Sans Light"/>
            </a:endParaRPr>
          </a:p>
        </p:txBody>
      </p:sp>
      <p:sp>
        <p:nvSpPr>
          <p:cNvPr id="2" name="Text Placeholder 5">
            <a:extLst>
              <a:ext uri="{FF2B5EF4-FFF2-40B4-BE49-F238E27FC236}">
                <a16:creationId xmlns:a16="http://schemas.microsoft.com/office/drawing/2014/main" id="{3B415A6F-F183-9039-810F-C9873542CF5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34581" y="835515"/>
            <a:ext cx="22419200" cy="1127126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10866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198" b="1">
                <a:solidFill>
                  <a:schemeClr val="bg1"/>
                </a:solidFill>
                <a:latin typeface="+mj-lt"/>
              </a:defRPr>
            </a:lvl1pPr>
            <a:lvl2pPr>
              <a:defRPr b="1">
                <a:solidFill>
                  <a:schemeClr val="bg1"/>
                </a:solidFill>
                <a:latin typeface="+mj-lt"/>
              </a:defRPr>
            </a:lvl2pPr>
            <a:lvl3pPr>
              <a:defRPr b="1">
                <a:solidFill>
                  <a:schemeClr val="bg1"/>
                </a:solidFill>
                <a:latin typeface="+mj-lt"/>
              </a:defRPr>
            </a:lvl3pPr>
            <a:lvl4pPr>
              <a:defRPr b="1">
                <a:solidFill>
                  <a:schemeClr val="bg1"/>
                </a:solidFill>
                <a:latin typeface="+mj-lt"/>
              </a:defRPr>
            </a:lvl4pPr>
            <a:lvl5pPr>
              <a:defRPr b="1">
                <a:solidFill>
                  <a:schemeClr val="bg1"/>
                </a:solidFill>
                <a:latin typeface="+mj-lt"/>
              </a:defRPr>
            </a:lvl5pPr>
          </a:lstStyle>
          <a:p>
            <a:pPr marL="0" marR="0" lvl="0" indent="0" algn="l" defTabSz="1086684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Headline Title</a:t>
            </a:r>
          </a:p>
        </p:txBody>
      </p:sp>
    </p:spTree>
    <p:extLst>
      <p:ext uri="{BB962C8B-B14F-4D97-AF65-F5344CB8AC3E}">
        <p14:creationId xmlns:p14="http://schemas.microsoft.com/office/powerpoint/2010/main" val="133842008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1219202" y="2128782"/>
            <a:ext cx="21726648" cy="7043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spcBef>
                <a:spcPts val="0"/>
              </a:spcBef>
              <a:defRPr lang="en-US" sz="4398" b="1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nter Subhead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219207" y="742689"/>
            <a:ext cx="21726650" cy="1386098"/>
          </a:xfrm>
          <a:prstGeom prst="rect">
            <a:avLst/>
          </a:prstGeom>
          <a:noFill/>
        </p:spPr>
        <p:txBody>
          <a:bodyPr lIns="0" tIns="0" rIns="0" bIns="0" anchor="ctr" anchorCtr="0">
            <a:noAutofit/>
          </a:bodyPr>
          <a:lstStyle>
            <a:lvl1pPr algn="l">
              <a:defRPr sz="7198" b="1"/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0E43EEE-C4A7-7240-A6E1-4511D465819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109730" y="3478282"/>
            <a:ext cx="21836120" cy="9064624"/>
          </a:xfrm>
          <a:prstGeom prst="rect">
            <a:avLst/>
          </a:prstGeom>
        </p:spPr>
        <p:txBody>
          <a:bodyPr lIns="182880" tIns="182880"/>
          <a:lstStyle>
            <a:lvl1pPr marL="338614" indent="-338614">
              <a:buClr>
                <a:schemeClr val="bg1"/>
              </a:buClr>
              <a:buFont typeface="Arial" panose="020B0604020202020204" pitchFamily="34" charset="0"/>
              <a:buChar char="•"/>
              <a:defRPr/>
            </a:lvl1pPr>
            <a:lvl2pPr marL="982666" indent="-338614" algn="l">
              <a:buClr>
                <a:schemeClr val="bg1"/>
              </a:buClr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1626718" indent="-338614" algn="l">
              <a:buClr>
                <a:schemeClr val="bg1"/>
              </a:buClr>
              <a:buFont typeface="Wingdings" pitchFamily="2" charset="2"/>
              <a:buChar char="§"/>
              <a:defRPr>
                <a:latin typeface="+mn-lt"/>
              </a:defRPr>
            </a:lvl3pPr>
            <a:lvl4pPr marL="2270774" indent="-338614" algn="l">
              <a:buClr>
                <a:schemeClr val="bg1"/>
              </a:buClr>
              <a:buFont typeface="Wingdings" pitchFamily="2" charset="2"/>
              <a:buChar char="ü"/>
              <a:defRPr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65938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15062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Cloud Data Dots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D608EC60-8781-E54A-A747-F1AF86F0532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34581" y="835515"/>
            <a:ext cx="22419200" cy="1127126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10866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7198" b="1">
                <a:solidFill>
                  <a:schemeClr val="bg1"/>
                </a:solidFill>
                <a:latin typeface="+mj-lt"/>
              </a:defRPr>
            </a:lvl1pPr>
            <a:lvl2pPr>
              <a:defRPr b="1">
                <a:solidFill>
                  <a:schemeClr val="bg1"/>
                </a:solidFill>
                <a:latin typeface="+mj-lt"/>
              </a:defRPr>
            </a:lvl2pPr>
            <a:lvl3pPr>
              <a:defRPr b="1">
                <a:solidFill>
                  <a:schemeClr val="bg1"/>
                </a:solidFill>
                <a:latin typeface="+mj-lt"/>
              </a:defRPr>
            </a:lvl3pPr>
            <a:lvl4pPr>
              <a:defRPr b="1">
                <a:solidFill>
                  <a:schemeClr val="bg1"/>
                </a:solidFill>
                <a:latin typeface="+mj-lt"/>
              </a:defRPr>
            </a:lvl4pPr>
            <a:lvl5pPr>
              <a:defRPr b="1">
                <a:solidFill>
                  <a:schemeClr val="bg1"/>
                </a:solidFill>
                <a:latin typeface="+mj-lt"/>
              </a:defRPr>
            </a:lvl5pPr>
          </a:lstStyle>
          <a:p>
            <a:pPr marL="0" marR="0" lvl="0" indent="0" algn="l" defTabSz="1086684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Headline Title</a:t>
            </a:r>
          </a:p>
        </p:txBody>
      </p:sp>
    </p:spTree>
    <p:extLst>
      <p:ext uri="{BB962C8B-B14F-4D97-AF65-F5344CB8AC3E}">
        <p14:creationId xmlns:p14="http://schemas.microsoft.com/office/powerpoint/2010/main" val="19711775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con Highlights 5up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E2365EE-18F0-BE4E-B06E-27E97825302B}"/>
              </a:ext>
            </a:extLst>
          </p:cNvPr>
          <p:cNvCxnSpPr>
            <a:cxnSpLocks/>
          </p:cNvCxnSpPr>
          <p:nvPr userDrawn="1"/>
        </p:nvCxnSpPr>
        <p:spPr>
          <a:xfrm>
            <a:off x="-68687" y="5196498"/>
            <a:ext cx="24505920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757E31A-A222-EE4D-9B56-456CC74FCD6E}"/>
              </a:ext>
            </a:extLst>
          </p:cNvPr>
          <p:cNvCxnSpPr>
            <a:cxnSpLocks/>
          </p:cNvCxnSpPr>
          <p:nvPr userDrawn="1"/>
        </p:nvCxnSpPr>
        <p:spPr>
          <a:xfrm>
            <a:off x="-68687" y="9867644"/>
            <a:ext cx="24505920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ounded Rectangle 17">
            <a:extLst>
              <a:ext uri="{FF2B5EF4-FFF2-40B4-BE49-F238E27FC236}">
                <a16:creationId xmlns:a16="http://schemas.microsoft.com/office/drawing/2014/main" id="{E16D047D-F6CB-8142-8B6A-FA6E42994F25}"/>
              </a:ext>
            </a:extLst>
          </p:cNvPr>
          <p:cNvSpPr/>
          <p:nvPr userDrawn="1"/>
        </p:nvSpPr>
        <p:spPr>
          <a:xfrm>
            <a:off x="15720271" y="3436081"/>
            <a:ext cx="4068946" cy="3520838"/>
          </a:xfrm>
          <a:prstGeom prst="roundRect">
            <a:avLst>
              <a:gd name="adj" fmla="val 0"/>
            </a:avLst>
          </a:prstGeom>
          <a:solidFill>
            <a:schemeClr val="tx1"/>
          </a:solidFill>
          <a:ln>
            <a:solidFill>
              <a:srgbClr val="6EBE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938"/>
          </a:p>
        </p:txBody>
      </p: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B741C875-BD8B-774D-988F-3F68F0F169F3}"/>
              </a:ext>
            </a:extLst>
          </p:cNvPr>
          <p:cNvSpPr/>
          <p:nvPr userDrawn="1"/>
        </p:nvSpPr>
        <p:spPr>
          <a:xfrm>
            <a:off x="10185895" y="3436081"/>
            <a:ext cx="4068946" cy="3520838"/>
          </a:xfrm>
          <a:prstGeom prst="roundRect">
            <a:avLst>
              <a:gd name="adj" fmla="val 0"/>
            </a:avLst>
          </a:prstGeom>
          <a:solidFill>
            <a:schemeClr val="tx1"/>
          </a:solidFill>
          <a:ln>
            <a:solidFill>
              <a:srgbClr val="6EBE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938"/>
          </a:p>
        </p:txBody>
      </p:sp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C6427684-A43F-C04E-8A47-72F920624D34}"/>
              </a:ext>
            </a:extLst>
          </p:cNvPr>
          <p:cNvSpPr/>
          <p:nvPr userDrawn="1"/>
        </p:nvSpPr>
        <p:spPr>
          <a:xfrm>
            <a:off x="4651520" y="3436081"/>
            <a:ext cx="4068946" cy="3520838"/>
          </a:xfrm>
          <a:prstGeom prst="roundRect">
            <a:avLst>
              <a:gd name="adj" fmla="val 0"/>
            </a:avLst>
          </a:prstGeom>
          <a:solidFill>
            <a:schemeClr val="tx1"/>
          </a:solidFill>
          <a:ln>
            <a:solidFill>
              <a:srgbClr val="6EBE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938"/>
          </a:p>
        </p:txBody>
      </p:sp>
      <p:sp>
        <p:nvSpPr>
          <p:cNvPr id="44" name="Title Placeholder 1">
            <a:extLst>
              <a:ext uri="{FF2B5EF4-FFF2-40B4-BE49-F238E27FC236}">
                <a16:creationId xmlns:a16="http://schemas.microsoft.com/office/drawing/2014/main" id="{E023D1E8-7887-F14A-9FF0-CCA86725E3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19207" y="742689"/>
            <a:ext cx="21726650" cy="1386098"/>
          </a:xfrm>
          <a:prstGeom prst="rect">
            <a:avLst/>
          </a:prstGeom>
          <a:noFill/>
        </p:spPr>
        <p:txBody>
          <a:bodyPr lIns="0" tIns="0" rIns="0" bIns="0" anchor="t" anchorCtr="0">
            <a:normAutofit/>
          </a:bodyPr>
          <a:lstStyle>
            <a:lvl1pPr algn="ctr">
              <a:defRPr sz="7198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03A70B73-808D-AF61-0A77-6574C1840719}"/>
              </a:ext>
            </a:extLst>
          </p:cNvPr>
          <p:cNvSpPr/>
          <p:nvPr userDrawn="1"/>
        </p:nvSpPr>
        <p:spPr>
          <a:xfrm>
            <a:off x="12917699" y="8115081"/>
            <a:ext cx="4068946" cy="3520838"/>
          </a:xfrm>
          <a:prstGeom prst="roundRect">
            <a:avLst>
              <a:gd name="adj" fmla="val 0"/>
            </a:avLst>
          </a:prstGeom>
          <a:solidFill>
            <a:schemeClr val="tx1"/>
          </a:solidFill>
          <a:ln>
            <a:solidFill>
              <a:srgbClr val="6EBE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938"/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6447F22C-7309-0290-969A-0A1C5C79A65D}"/>
              </a:ext>
            </a:extLst>
          </p:cNvPr>
          <p:cNvSpPr/>
          <p:nvPr userDrawn="1"/>
        </p:nvSpPr>
        <p:spPr>
          <a:xfrm>
            <a:off x="7383324" y="8115081"/>
            <a:ext cx="4068946" cy="3520838"/>
          </a:xfrm>
          <a:prstGeom prst="roundRect">
            <a:avLst>
              <a:gd name="adj" fmla="val 0"/>
            </a:avLst>
          </a:prstGeom>
          <a:solidFill>
            <a:schemeClr val="tx1"/>
          </a:solidFill>
          <a:ln>
            <a:solidFill>
              <a:srgbClr val="6EBE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938"/>
          </a:p>
        </p:txBody>
      </p:sp>
    </p:spTree>
    <p:extLst>
      <p:ext uri="{BB962C8B-B14F-4D97-AF65-F5344CB8AC3E}">
        <p14:creationId xmlns:p14="http://schemas.microsoft.com/office/powerpoint/2010/main" val="709803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AD 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1691326C-1DEF-CC45-B7F1-69CF32433657}"/>
              </a:ext>
            </a:extLst>
          </p:cNvPr>
          <p:cNvSpPr txBox="1">
            <a:spLocks/>
          </p:cNvSpPr>
          <p:nvPr userDrawn="1"/>
        </p:nvSpPr>
        <p:spPr>
          <a:xfrm>
            <a:off x="0" y="0"/>
            <a:ext cx="0" cy="0"/>
          </a:xfr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B7E7695C-FCF1-4AA0-9B93-7941FED13DC4}" type="slidenum">
              <a:rPr lang="en-US" sz="2800" smtClean="0"/>
              <a:pPr/>
              <a:t>‹#›</a:t>
            </a:fld>
            <a:endParaRPr lang="en-US" sz="2800"/>
          </a:p>
        </p:txBody>
      </p:sp>
    </p:spTree>
    <p:extLst>
      <p:ext uri="{BB962C8B-B14F-4D97-AF65-F5344CB8AC3E}">
        <p14:creationId xmlns:p14="http://schemas.microsoft.com/office/powerpoint/2010/main" val="3729960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8041308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AD 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691326C-1DEF-CC45-B7F1-69CF324336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E7695C-FCF1-4AA0-9B93-7941FED13DC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1691326C-1DEF-CC45-B7F1-69CF32433657}"/>
              </a:ext>
            </a:extLst>
          </p:cNvPr>
          <p:cNvSpPr txBox="1">
            <a:spLocks/>
          </p:cNvSpPr>
          <p:nvPr userDrawn="1"/>
        </p:nvSpPr>
        <p:spPr>
          <a:xfrm>
            <a:off x="0" y="0"/>
            <a:ext cx="0" cy="0"/>
          </a:xfr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B7E7695C-FCF1-4AA0-9B93-7941FED13DC4}" type="slidenum">
              <a:rPr lang="en-US" sz="2800" smtClean="0"/>
              <a:pPr/>
              <a:t>‹#›</a:t>
            </a:fld>
            <a:endParaRPr lang="en-US" sz="280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E6DFC53F-62F4-1248-B29A-1044D0C276F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72758" y="1139069"/>
            <a:ext cx="23011247" cy="1292406"/>
          </a:xfrm>
          <a:prstGeom prst="rect">
            <a:avLst/>
          </a:prstGeom>
        </p:spPr>
        <p:txBody>
          <a:bodyPr anchor="b"/>
          <a:lstStyle>
            <a:lvl1pPr>
              <a:defRPr sz="7196" b="1" i="0" baseline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06177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 userDrawn="1">
  <p:cSld name="1_Title and Content">
    <p:spTree>
      <p:nvGrpSpPr>
        <p:cNvPr id="1" name="Shape 12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6" name="Google Shape;1216;p103"/>
          <p:cNvSpPr txBox="1">
            <a:spLocks noGrp="1"/>
          </p:cNvSpPr>
          <p:nvPr>
            <p:ph type="body" idx="1"/>
          </p:nvPr>
        </p:nvSpPr>
        <p:spPr>
          <a:xfrm>
            <a:off x="1045650" y="4666597"/>
            <a:ext cx="22276001" cy="79825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7825" tIns="58900" rIns="117825" bIns="58900" anchor="t" anchorCtr="0">
            <a:noAutofit/>
          </a:bodyPr>
          <a:lstStyle>
            <a:lvl1pPr marL="914126" marR="0" lvl="0" indent="-787164" algn="l" rtl="0">
              <a:lnSpc>
                <a:spcPct val="100000"/>
              </a:lnSpc>
              <a:spcBef>
                <a:spcPts val="3000"/>
              </a:spcBef>
              <a:spcAft>
                <a:spcPts val="0"/>
              </a:spcAft>
              <a:buClr>
                <a:schemeClr val="tx1"/>
              </a:buClr>
              <a:buSzPts val="2600"/>
              <a:buFont typeface="Arial"/>
              <a:buChar char="•"/>
              <a:defRPr sz="519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828252" marR="0" lvl="1" indent="-749076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2300"/>
              <a:buFont typeface="Helvetica Neue"/>
              <a:buChar char="–"/>
              <a:defRPr sz="459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2742378" marR="0" lvl="2" indent="-723682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2100"/>
              <a:buFont typeface="Arial"/>
              <a:buChar char="»"/>
              <a:defRPr sz="419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3656502" marR="0" lvl="3" indent="-685594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rial"/>
              <a:buChar char="•"/>
              <a:defRPr sz="359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4570628" marR="0" lvl="4" indent="-685594" algn="l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Helvetica Neue"/>
              <a:buChar char="–"/>
              <a:defRPr sz="359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5484754" marR="0" lvl="5" indent="-787164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Arial"/>
              <a:buChar char="•"/>
              <a:defRPr sz="519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6398880" marR="0" lvl="6" indent="-787164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Arial"/>
              <a:buChar char="•"/>
              <a:defRPr sz="519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7313006" marR="0" lvl="7" indent="-787164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Arial"/>
              <a:buChar char="•"/>
              <a:defRPr sz="519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8227132" marR="0" lvl="8" indent="-787164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Arial"/>
              <a:buChar char="•"/>
              <a:defRPr sz="5198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5" name="Google Shape;2355;p234" descr="sgicon_transparent.png"/>
          <p:cNvPicPr preferRelativeResize="0"/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3453672" y="12962674"/>
            <a:ext cx="648769" cy="549600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Google Shape;2356;p234"/>
          <p:cNvSpPr txBox="1"/>
          <p:nvPr userDrawn="1"/>
        </p:nvSpPr>
        <p:spPr>
          <a:xfrm>
            <a:off x="22199135" y="13012550"/>
            <a:ext cx="899034" cy="43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752" tIns="91326" rIns="182752" bIns="9132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US" sz="16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16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7" name="Google Shape;2357;p234"/>
          <p:cNvCxnSpPr/>
          <p:nvPr userDrawn="1"/>
        </p:nvCxnSpPr>
        <p:spPr>
          <a:xfrm>
            <a:off x="23098289" y="13084002"/>
            <a:ext cx="0" cy="3900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9" name="Google Shape;2359;p234"/>
          <p:cNvCxnSpPr/>
          <p:nvPr userDrawn="1"/>
        </p:nvCxnSpPr>
        <p:spPr>
          <a:xfrm>
            <a:off x="22199155" y="13084102"/>
            <a:ext cx="0" cy="3900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E6DFC53F-62F4-1248-B29A-1044D0C276F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72758" y="1093076"/>
            <a:ext cx="23011247" cy="1338396"/>
          </a:xfrm>
          <a:prstGeom prst="rect">
            <a:avLst/>
          </a:prstGeom>
        </p:spPr>
        <p:txBody>
          <a:bodyPr anchor="b"/>
          <a:lstStyle>
            <a:lvl1pPr>
              <a:defRPr sz="7196" b="1" i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31FF0120-2E07-734E-AF39-7F19982596F4}"/>
              </a:ext>
            </a:extLst>
          </p:cNvPr>
          <p:cNvGrpSpPr/>
          <p:nvPr userDrawn="1"/>
        </p:nvGrpSpPr>
        <p:grpSpPr>
          <a:xfrm>
            <a:off x="1142522" y="783648"/>
            <a:ext cx="99444" cy="1371600"/>
            <a:chOff x="579865" y="-277318"/>
            <a:chExt cx="49722" cy="1798820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ECECD1B9-6B73-5649-85CF-507859B12402}"/>
                </a:ext>
              </a:extLst>
            </p:cNvPr>
            <p:cNvSpPr/>
            <p:nvPr/>
          </p:nvSpPr>
          <p:spPr>
            <a:xfrm>
              <a:off x="579865" y="624468"/>
              <a:ext cx="49722" cy="89703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8C650F1-3A13-3247-B7F6-B4B12701D6D4}"/>
                </a:ext>
              </a:extLst>
            </p:cNvPr>
            <p:cNvSpPr/>
            <p:nvPr/>
          </p:nvSpPr>
          <p:spPr>
            <a:xfrm>
              <a:off x="579865" y="-277318"/>
              <a:ext cx="49722" cy="89703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 b="1" i="0">
                <a:solidFill>
                  <a:schemeClr val="accent1"/>
                </a:solidFill>
                <a:latin typeface="Comic Sans MS" panose="030F0902030302020204" pitchFamily="66" charset="0"/>
              </a:endParaRPr>
            </a:p>
          </p:txBody>
        </p:sp>
      </p:grp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958AA2B-4BFD-004D-8A0F-53873C41F263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1402982" y="2303636"/>
            <a:ext cx="21873182" cy="1661480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4796" b="0" i="0" spc="0">
                <a:solidFill>
                  <a:schemeClr val="accent1"/>
                </a:solidFill>
                <a:latin typeface="+mj-lt"/>
              </a:defRPr>
            </a:lvl1pPr>
            <a:lvl2pPr marL="913852" indent="0">
              <a:buNone/>
              <a:defRPr sz="3996">
                <a:solidFill>
                  <a:schemeClr val="tx1">
                    <a:tint val="75000"/>
                  </a:schemeClr>
                </a:solidFill>
              </a:defRPr>
            </a:lvl2pPr>
            <a:lvl3pPr marL="1827704" indent="0">
              <a:buNone/>
              <a:defRPr sz="3596">
                <a:solidFill>
                  <a:schemeClr val="tx1">
                    <a:tint val="75000"/>
                  </a:schemeClr>
                </a:solidFill>
              </a:defRPr>
            </a:lvl3pPr>
            <a:lvl4pPr marL="2741556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4pPr>
            <a:lvl5pPr marL="3655406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5pPr>
            <a:lvl6pPr marL="4569256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6pPr>
            <a:lvl7pPr marL="5483108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7pPr>
            <a:lvl8pPr marL="639696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8pPr>
            <a:lvl9pPr marL="7310812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 edit master text styles edit master text styles edit master text styles edit master text styles edit master text styles edit master text styles </a:t>
            </a:r>
          </a:p>
        </p:txBody>
      </p:sp>
    </p:spTree>
    <p:extLst>
      <p:ext uri="{BB962C8B-B14F-4D97-AF65-F5344CB8AC3E}">
        <p14:creationId xmlns:p14="http://schemas.microsoft.com/office/powerpoint/2010/main" val="22896504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42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" grpId="0" build="p">
        <p:tmplLst>
          <p:tmpl lvl="1">
            <p:tnLst>
              <p:par>
                <p:cTn presetID="42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  <p:anim calcmode="lin" valueType="num">
                      <p:cBhvr>
                        <p:cTn dur="500" fill="hold"/>
                        <p:tgtEl>
                          <p:spTgt spid="1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Layout 3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1219202" y="2128782"/>
            <a:ext cx="21726648" cy="70436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algn="ctr">
              <a:spcBef>
                <a:spcPts val="0"/>
              </a:spcBef>
              <a:defRPr lang="en-US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nter Subhead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219203" y="742685"/>
            <a:ext cx="21726650" cy="1386098"/>
          </a:xfrm>
          <a:prstGeom prst="rect">
            <a:avLst/>
          </a:prstGeom>
          <a:noFill/>
        </p:spPr>
        <p:txBody>
          <a:bodyPr lIns="0" tIns="0" rIns="0" bIns="0" anchor="t" anchorCtr="0">
            <a:norm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0E43EEE-C4A7-7240-A6E1-4511D465819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109731" y="3478282"/>
            <a:ext cx="6911004" cy="9064624"/>
          </a:xfrm>
          <a:prstGeom prst="rect">
            <a:avLst/>
          </a:prstGeom>
        </p:spPr>
        <p:txBody>
          <a:bodyPr/>
          <a:lstStyle>
            <a:lvl1pPr marL="571328" indent="-571328">
              <a:buClr>
                <a:schemeClr val="bg2"/>
              </a:buClr>
              <a:buFont typeface="Arial" panose="020B0604020202020204" pitchFamily="34" charset="0"/>
              <a:buChar char="•"/>
              <a:defRPr/>
            </a:lvl1pPr>
            <a:lvl2pPr marL="1658012" indent="-571328" algn="l"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2744694" indent="-571328" algn="l">
              <a:buFont typeface="Wingdings" pitchFamily="2" charset="2"/>
              <a:buChar char="§"/>
              <a:defRPr>
                <a:latin typeface="+mn-lt"/>
              </a:defRPr>
            </a:lvl3pPr>
            <a:lvl4pPr marL="3831384" indent="-571328" algn="l">
              <a:buClr>
                <a:schemeClr val="bg2"/>
              </a:buClr>
              <a:buFont typeface="Wingdings" pitchFamily="2" charset="2"/>
              <a:buChar char="ü"/>
              <a:defRPr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5B568804-F61F-2446-9466-BCECDC4DD42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627024" y="3478282"/>
            <a:ext cx="6911004" cy="9064624"/>
          </a:xfrm>
          <a:prstGeom prst="rect">
            <a:avLst/>
          </a:prstGeom>
        </p:spPr>
        <p:txBody>
          <a:bodyPr/>
          <a:lstStyle>
            <a:lvl1pPr marL="571328" indent="-571328">
              <a:buClr>
                <a:schemeClr val="bg2"/>
              </a:buClr>
              <a:buFont typeface="Arial" panose="020B0604020202020204" pitchFamily="34" charset="0"/>
              <a:buChar char="•"/>
              <a:defRPr/>
            </a:lvl1pPr>
            <a:lvl2pPr marL="1658012" indent="-571328" algn="l"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2744694" indent="-571328" algn="l">
              <a:buFont typeface="Wingdings" pitchFamily="2" charset="2"/>
              <a:buChar char="§"/>
              <a:defRPr>
                <a:latin typeface="+mn-lt"/>
              </a:defRPr>
            </a:lvl3pPr>
            <a:lvl4pPr marL="3831384" indent="-571328" algn="l">
              <a:buClr>
                <a:schemeClr val="bg2"/>
              </a:buClr>
              <a:buFont typeface="Wingdings" pitchFamily="2" charset="2"/>
              <a:buChar char="ü"/>
              <a:defRPr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882E3BA1-D365-8243-8098-99FEC35A0B6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6144318" y="3478282"/>
            <a:ext cx="6911004" cy="9064624"/>
          </a:xfrm>
          <a:prstGeom prst="rect">
            <a:avLst/>
          </a:prstGeom>
        </p:spPr>
        <p:txBody>
          <a:bodyPr/>
          <a:lstStyle>
            <a:lvl1pPr marL="571328" indent="-571328">
              <a:buClr>
                <a:schemeClr val="bg2"/>
              </a:buClr>
              <a:buFont typeface="Arial" panose="020B0604020202020204" pitchFamily="34" charset="0"/>
              <a:buChar char="•"/>
              <a:defRPr/>
            </a:lvl1pPr>
            <a:lvl2pPr marL="1658012" indent="-571328" algn="l"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2744694" indent="-571328" algn="l">
              <a:buFont typeface="Wingdings" pitchFamily="2" charset="2"/>
              <a:buChar char="§"/>
              <a:defRPr>
                <a:latin typeface="+mn-lt"/>
              </a:defRPr>
            </a:lvl3pPr>
            <a:lvl4pPr marL="3831384" indent="-571328" algn="l">
              <a:buClr>
                <a:schemeClr val="bg2"/>
              </a:buClr>
              <a:buFont typeface="Wingdings" pitchFamily="2" charset="2"/>
              <a:buChar char="ü"/>
              <a:defRPr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540026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yr OEM/Cloud Road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8" name="Picture 77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77769" y="-112541"/>
            <a:ext cx="24534295" cy="13890298"/>
          </a:xfrm>
          <a:prstGeom prst="rect">
            <a:avLst/>
          </a:prstGeom>
        </p:spPr>
      </p:pic>
      <p:graphicFrame>
        <p:nvGraphicFramePr>
          <p:cNvPr id="3" name="Content Placeholder 4"/>
          <p:cNvGraphicFramePr>
            <a:graphicFrameLocks/>
          </p:cNvGraphicFramePr>
          <p:nvPr userDrawn="1"/>
        </p:nvGraphicFramePr>
        <p:xfrm>
          <a:off x="837509" y="2272055"/>
          <a:ext cx="22616161" cy="1055292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3522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2668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7451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7011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5582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5582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2501443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2501443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2501443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2501443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2501443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2690773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</a:tblGrid>
              <a:tr h="609600">
                <a:tc rowSpan="2" gridSpan="4">
                  <a:txBody>
                    <a:bodyPr/>
                    <a:lstStyle/>
                    <a:p>
                      <a:pPr algn="ctr"/>
                      <a:endParaRPr lang="en-US" sz="2800">
                        <a:solidFill>
                          <a:srgbClr val="92D050"/>
                        </a:solidFill>
                      </a:endParaRPr>
                    </a:p>
                  </a:txBody>
                  <a:tcPr marL="182976" marR="182976" marT="91440" marB="9144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algn="ctr"/>
                      <a:endParaRPr lang="en-US" sz="1400">
                        <a:solidFill>
                          <a:srgbClr val="92D050"/>
                        </a:solidFill>
                      </a:endParaRPr>
                    </a:p>
                  </a:txBody>
                  <a:tcPr marL="91464" marR="9146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 hMerge="1">
                  <a:txBody>
                    <a:bodyPr/>
                    <a:lstStyle/>
                    <a:p>
                      <a:pPr algn="ctr"/>
                      <a:endParaRPr lang="en-US" sz="1400">
                        <a:solidFill>
                          <a:srgbClr val="92D050"/>
                        </a:solidFill>
                      </a:endParaRPr>
                    </a:p>
                  </a:txBody>
                  <a:tcPr marL="91464" marR="9146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algn="ctr"/>
                      <a:endParaRPr lang="en-US" sz="1400">
                        <a:solidFill>
                          <a:srgbClr val="92D050"/>
                        </a:solidFill>
                      </a:endParaRPr>
                    </a:p>
                  </a:txBody>
                  <a:tcPr marL="91464" marR="9146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2800">
                          <a:solidFill>
                            <a:schemeClr val="bg1"/>
                          </a:solidFill>
                        </a:rPr>
                        <a:t>CY2020</a:t>
                      </a:r>
                    </a:p>
                  </a:txBody>
                  <a:tcPr marL="182976" marR="182976" marT="91440" marB="9144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>
                        <a:solidFill>
                          <a:schemeClr val="bg1"/>
                        </a:solidFill>
                      </a:endParaRPr>
                    </a:p>
                  </a:txBody>
                  <a:tcPr marL="91464" marR="9146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2800">
                          <a:solidFill>
                            <a:schemeClr val="bg1"/>
                          </a:solidFill>
                        </a:rPr>
                        <a:t>CY2021</a:t>
                      </a:r>
                    </a:p>
                  </a:txBody>
                  <a:tcPr marL="182976" marR="182976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>
                        <a:solidFill>
                          <a:srgbClr val="92D050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2800">
                          <a:solidFill>
                            <a:schemeClr val="bg1"/>
                          </a:solidFill>
                        </a:rPr>
                        <a:t>CY2022</a:t>
                      </a:r>
                    </a:p>
                  </a:txBody>
                  <a:tcPr marL="182976" marR="182976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>
                        <a:solidFill>
                          <a:schemeClr val="bg1"/>
                        </a:solidFill>
                      </a:endParaRPr>
                    </a:p>
                  </a:txBody>
                  <a:tcPr marL="91464" marR="91464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>
                          <a:solidFill>
                            <a:schemeClr val="bg1"/>
                          </a:solidFill>
                        </a:rPr>
                        <a:t>CY2023</a:t>
                      </a:r>
                    </a:p>
                  </a:txBody>
                  <a:tcPr marL="182976" marR="182976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18160">
                <a:tc gridSpan="4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>
                          <a:solidFill>
                            <a:schemeClr val="bg1"/>
                          </a:solidFill>
                        </a:rPr>
                        <a:t>Q1</a:t>
                      </a:r>
                    </a:p>
                  </a:txBody>
                  <a:tcPr marL="182976" marR="182976" marT="91440" marB="9144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>
                          <a:solidFill>
                            <a:schemeClr val="bg1"/>
                          </a:solidFill>
                        </a:rPr>
                        <a:t>Q2</a:t>
                      </a:r>
                    </a:p>
                  </a:txBody>
                  <a:tcPr marL="182976" marR="182976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>
                          <a:solidFill>
                            <a:schemeClr val="bg1"/>
                          </a:solidFill>
                        </a:rPr>
                        <a:t>2H</a:t>
                      </a:r>
                    </a:p>
                  </a:txBody>
                  <a:tcPr marL="182976" marR="182976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>
                          <a:solidFill>
                            <a:schemeClr val="bg1"/>
                          </a:solidFill>
                        </a:rPr>
                        <a:t>1H</a:t>
                      </a:r>
                    </a:p>
                  </a:txBody>
                  <a:tcPr marL="182976" marR="182976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>
                          <a:solidFill>
                            <a:schemeClr val="bg1"/>
                          </a:solidFill>
                        </a:rPr>
                        <a:t>2H</a:t>
                      </a:r>
                    </a:p>
                  </a:txBody>
                  <a:tcPr marL="182976" marR="182976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>
                          <a:solidFill>
                            <a:schemeClr val="bg1"/>
                          </a:solidFill>
                        </a:rPr>
                        <a:t>1H</a:t>
                      </a:r>
                    </a:p>
                  </a:txBody>
                  <a:tcPr marL="182976" marR="182976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>
                          <a:solidFill>
                            <a:schemeClr val="bg1"/>
                          </a:solidFill>
                        </a:rPr>
                        <a:t>2H</a:t>
                      </a:r>
                    </a:p>
                  </a:txBody>
                  <a:tcPr marL="182976" marR="182976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200">
                          <a:solidFill>
                            <a:schemeClr val="bg1"/>
                          </a:solidFill>
                        </a:rPr>
                        <a:t>1H</a:t>
                      </a:r>
                    </a:p>
                  </a:txBody>
                  <a:tcPr marL="182976" marR="182976" marT="91440" marB="91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EBE49">
                        <a:alpha val="85098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13058">
                <a:tc rowSpan="4">
                  <a:txBody>
                    <a:bodyPr/>
                    <a:lstStyle/>
                    <a:p>
                      <a:pPr algn="l"/>
                      <a:r>
                        <a:rPr lang="en-US" sz="3600" b="1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Exos X</a:t>
                      </a:r>
                    </a:p>
                    <a:p>
                      <a:r>
                        <a:rPr lang="en-US" sz="24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Scalable.</a:t>
                      </a:r>
                    </a:p>
                    <a:p>
                      <a:r>
                        <a:rPr lang="en-US" sz="24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Responsive.</a:t>
                      </a:r>
                    </a:p>
                    <a:p>
                      <a:r>
                        <a:rPr lang="en-US" sz="24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Innovative.</a:t>
                      </a:r>
                      <a:endParaRPr lang="en-US" sz="4000">
                        <a:solidFill>
                          <a:schemeClr val="accent1"/>
                        </a:solidFill>
                        <a:latin typeface="HelveticaNeueLT Std Ext" panose="020B0605020202020204" pitchFamily="34" charset="0"/>
                      </a:endParaRPr>
                    </a:p>
                    <a:p>
                      <a:endParaRPr lang="en-US" sz="2400">
                        <a:solidFill>
                          <a:schemeClr val="accent1"/>
                        </a:solidFill>
                        <a:latin typeface="HelveticaNeueLT Std Ext" panose="020B0605020202020204" pitchFamily="34" charset="0"/>
                      </a:endParaRPr>
                    </a:p>
                  </a:txBody>
                  <a:tcPr marL="182976" marR="182976" marT="91440" marB="9144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/>
                      <a:r>
                        <a:rPr lang="en-US" sz="2400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High</a:t>
                      </a:r>
                      <a:r>
                        <a:rPr lang="en-US" sz="2400" baseline="0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 Capacity</a:t>
                      </a:r>
                      <a:endParaRPr lang="en-US" sz="2400">
                        <a:solidFill>
                          <a:schemeClr val="tx2"/>
                        </a:solidFill>
                        <a:latin typeface="HelveticaNeueLT Std Ext" panose="020B0605020202020204" pitchFamily="34" charset="0"/>
                      </a:endParaRPr>
                    </a:p>
                  </a:txBody>
                  <a:tcPr marL="182976" marR="182976" marT="91440" marB="9144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2000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Single</a:t>
                      </a:r>
                      <a:r>
                        <a:rPr lang="en-US" sz="2000" baseline="0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 Actuation</a:t>
                      </a:r>
                      <a:endParaRPr lang="en-US" sz="2000">
                        <a:solidFill>
                          <a:schemeClr val="tx2"/>
                        </a:solidFill>
                        <a:latin typeface="HelveticaNeueLT Std Ext" panose="020B0605020202020204" pitchFamily="34" charset="0"/>
                      </a:endParaRPr>
                    </a:p>
                  </a:txBody>
                  <a:tcPr marL="182976" marR="182976" marT="91440" marB="91440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CMR</a:t>
                      </a:r>
                    </a:p>
                  </a:txBody>
                  <a:tcPr marL="182976" marR="182976" marT="91440" marB="9144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endParaRPr lang="en-US" sz="8600"/>
                    </a:p>
                  </a:txBody>
                  <a:tcPr marL="182976" marR="182976" marT="91440" marB="9144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endParaRPr lang="en-US" sz="8600"/>
                    </a:p>
                  </a:txBody>
                  <a:tcPr marL="182976" marR="182976" marT="91440" marB="9144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endParaRPr lang="en-US" sz="8600"/>
                    </a:p>
                  </a:txBody>
                  <a:tcPr marL="182976" marR="182976" marT="91440" marB="9144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endParaRPr lang="en-US" sz="8600"/>
                    </a:p>
                  </a:txBody>
                  <a:tcPr marL="182976" marR="182976" marT="91440" marB="9144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endParaRPr lang="en-US" sz="8600"/>
                    </a:p>
                  </a:txBody>
                  <a:tcPr marL="182976" marR="182976" marT="91440" marB="9144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endParaRPr lang="en-US" sz="8600"/>
                    </a:p>
                  </a:txBody>
                  <a:tcPr marL="182976" marR="182976" marT="91440" marB="9144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endParaRPr lang="en-US" sz="8600"/>
                    </a:p>
                  </a:txBody>
                  <a:tcPr marL="182976" marR="182976" marT="91440" marB="9144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rowSpan="4">
                  <a:txBody>
                    <a:bodyPr/>
                    <a:lstStyle/>
                    <a:p>
                      <a:endParaRPr lang="en-US" sz="8600"/>
                    </a:p>
                  </a:txBody>
                  <a:tcPr marL="182976" marR="182976" marT="91440" marB="9144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41305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SMR</a:t>
                      </a:r>
                    </a:p>
                  </a:txBody>
                  <a:tcPr marL="182976" marR="182976" marT="91440" marB="9144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41305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2000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Multi Actuation</a:t>
                      </a:r>
                    </a:p>
                  </a:txBody>
                  <a:tcPr marL="182976" marR="182976" marT="91440" marB="91440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CMR</a:t>
                      </a:r>
                    </a:p>
                  </a:txBody>
                  <a:tcPr marL="182976" marR="182976" marT="91440" marB="9144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41305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SMR</a:t>
                      </a:r>
                    </a:p>
                  </a:txBody>
                  <a:tcPr marL="182976" marR="182976" marT="91440" marB="9144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72930">
                <a:tc>
                  <a:txBody>
                    <a:bodyPr/>
                    <a:lstStyle/>
                    <a:p>
                      <a:pPr algn="l"/>
                      <a:r>
                        <a:rPr lang="en-US" sz="3600" b="1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Exos E</a:t>
                      </a:r>
                    </a:p>
                    <a:p>
                      <a:r>
                        <a:rPr lang="en-US" sz="24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Trusted.</a:t>
                      </a:r>
                    </a:p>
                    <a:p>
                      <a:r>
                        <a:rPr lang="en-US" sz="24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Efficient.</a:t>
                      </a:r>
                    </a:p>
                    <a:p>
                      <a:r>
                        <a:rPr lang="en-US" sz="2400">
                          <a:solidFill>
                            <a:schemeClr val="accent1"/>
                          </a:solidFill>
                          <a:latin typeface="HelveticaNeueLT Std Ext" panose="020B0605020202020204" pitchFamily="34" charset="0"/>
                        </a:rPr>
                        <a:t>Versatile.</a:t>
                      </a:r>
                    </a:p>
                    <a:p>
                      <a:pPr algn="l"/>
                      <a:endParaRPr lang="en-US" sz="3600">
                        <a:solidFill>
                          <a:schemeClr val="accent1"/>
                        </a:solidFill>
                        <a:latin typeface="HelveticaNeueLT Std Ext" panose="020B0605020202020204" pitchFamily="34" charset="0"/>
                      </a:endParaRPr>
                    </a:p>
                  </a:txBody>
                  <a:tcPr marL="182976" marR="182976" marT="91440" marB="9144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>
                          <a:solidFill>
                            <a:schemeClr val="tx2"/>
                          </a:solidFill>
                          <a:latin typeface="HelveticaNeueLT Std Ext" panose="020B0605020202020204" pitchFamily="34" charset="0"/>
                        </a:rPr>
                        <a:t>Traditional IT</a:t>
                      </a:r>
                    </a:p>
                  </a:txBody>
                  <a:tcPr marL="182976" marR="182976" marT="91440" marB="9144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endParaRPr lang="en-US" sz="2400">
                        <a:solidFill>
                          <a:schemeClr val="accent1"/>
                        </a:solidFill>
                        <a:latin typeface="HelveticaNeueLT Std Ext" panose="020B0605020202020204" pitchFamily="34" charset="0"/>
                      </a:endParaRPr>
                    </a:p>
                  </a:txBody>
                  <a:tcPr marL="182976" marR="182976" marT="91440" marB="91440" vert="vert27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>
                        <a:solidFill>
                          <a:schemeClr val="accent1"/>
                        </a:solidFill>
                        <a:latin typeface="HelveticaNeueLT Std Ext" panose="020B0605020202020204" pitchFamily="34" charset="0"/>
                      </a:endParaRPr>
                    </a:p>
                  </a:txBody>
                  <a:tcPr marL="91464" marR="91464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600"/>
                    </a:p>
                  </a:txBody>
                  <a:tcPr marL="182976" marR="182976" marT="91440" marB="9144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600"/>
                    </a:p>
                  </a:txBody>
                  <a:tcPr marL="182976" marR="182976" marT="91440" marB="9144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600"/>
                    </a:p>
                  </a:txBody>
                  <a:tcPr marL="182976" marR="182976" marT="91440" marB="9144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600"/>
                    </a:p>
                  </a:txBody>
                  <a:tcPr marL="182976" marR="182976" marT="91440" marB="9144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600"/>
                    </a:p>
                  </a:txBody>
                  <a:tcPr marL="182976" marR="182976" marT="91440" marB="9144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600"/>
                    </a:p>
                  </a:txBody>
                  <a:tcPr marL="182976" marR="182976" marT="91440" marB="9144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600"/>
                    </a:p>
                  </a:txBody>
                  <a:tcPr marL="182976" marR="182976" marT="91440" marB="9144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8600"/>
                    </a:p>
                  </a:txBody>
                  <a:tcPr marL="182976" marR="182976" marT="91440" marB="9144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>
                        <a:alpha val="9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9759" y="2283917"/>
            <a:ext cx="2669889" cy="1111434"/>
          </a:xfrm>
          <a:prstGeom prst="rect">
            <a:avLst/>
          </a:prstGeom>
        </p:spPr>
      </p:pic>
      <p:sp>
        <p:nvSpPr>
          <p:cNvPr id="6" name="Oval 5"/>
          <p:cNvSpPr/>
          <p:nvPr userDrawn="1"/>
        </p:nvSpPr>
        <p:spPr>
          <a:xfrm>
            <a:off x="21661475" y="3066400"/>
            <a:ext cx="220806" cy="210616"/>
          </a:xfrm>
          <a:prstGeom prst="ellipse">
            <a:avLst/>
          </a:prstGeom>
          <a:noFill/>
          <a:ln w="158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25000" lnSpcReduction="20000"/>
          </a:bodyPr>
          <a:lstStyle/>
          <a:p>
            <a:pPr algn="ctr" defTabSz="1217982">
              <a:buClrTx/>
              <a:buFontTx/>
              <a:buNone/>
            </a:pPr>
            <a:endParaRPr lang="en-US" sz="3264" b="1" kern="1200">
              <a:solidFill>
                <a:srgbClr val="000000"/>
              </a:solidFill>
            </a:endParaRPr>
          </a:p>
        </p:txBody>
      </p:sp>
      <p:sp>
        <p:nvSpPr>
          <p:cNvPr id="68" name="Rectangle 67"/>
          <p:cNvSpPr/>
          <p:nvPr userDrawn="1"/>
        </p:nvSpPr>
        <p:spPr>
          <a:xfrm>
            <a:off x="820724" y="12971729"/>
            <a:ext cx="9785724" cy="470182"/>
          </a:xfrm>
          <a:prstGeom prst="rect">
            <a:avLst/>
          </a:prstGeom>
          <a:solidFill>
            <a:srgbClr val="F2F2F2"/>
          </a:solidFill>
          <a:ln w="158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defTabSz="1216558">
              <a:buClrTx/>
              <a:buFontTx/>
              <a:buNone/>
            </a:pPr>
            <a:endParaRPr lang="en-US" sz="1800" b="1" kern="1200">
              <a:solidFill>
                <a:srgbClr val="000000"/>
              </a:solidFill>
            </a:endParaRPr>
          </a:p>
          <a:p>
            <a:pPr defTabSz="1216558">
              <a:buClrTx/>
              <a:buFontTx/>
              <a:buNone/>
            </a:pPr>
            <a:r>
              <a:rPr lang="en-US" sz="1800" b="1" kern="1200">
                <a:solidFill>
                  <a:srgbClr val="78777A"/>
                </a:solidFill>
              </a:rPr>
              <a:t>Legend:                  CTU Declare             Pilot Program      z=ZBD/SMR </a:t>
            </a:r>
          </a:p>
          <a:p>
            <a:pPr defTabSz="1216558">
              <a:buClrTx/>
              <a:buFontTx/>
              <a:buNone/>
            </a:pPr>
            <a:r>
              <a:rPr lang="en-US" sz="1800" b="1" kern="1200">
                <a:solidFill>
                  <a:srgbClr val="78777A"/>
                </a:solidFill>
              </a:rPr>
              <a:t>                </a:t>
            </a:r>
          </a:p>
        </p:txBody>
      </p:sp>
      <p:sp>
        <p:nvSpPr>
          <p:cNvPr id="69" name="Oval 68"/>
          <p:cNvSpPr/>
          <p:nvPr userDrawn="1"/>
        </p:nvSpPr>
        <p:spPr>
          <a:xfrm>
            <a:off x="2630516" y="13086823"/>
            <a:ext cx="241645" cy="241706"/>
          </a:xfrm>
          <a:prstGeom prst="ellipse">
            <a:avLst/>
          </a:prstGeom>
          <a:noFill/>
          <a:ln w="381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32500" lnSpcReduction="20000"/>
          </a:bodyPr>
          <a:lstStyle/>
          <a:p>
            <a:pPr algn="ctr" defTabSz="1217616">
              <a:buClrTx/>
              <a:buFontTx/>
              <a:buNone/>
            </a:pPr>
            <a:endParaRPr lang="en-US" sz="1800" b="1" kern="1200">
              <a:solidFill>
                <a:srgbClr val="78777A"/>
              </a:solidFill>
            </a:endParaRPr>
          </a:p>
        </p:txBody>
      </p:sp>
      <p:sp>
        <p:nvSpPr>
          <p:cNvPr id="70" name="Oval 69"/>
          <p:cNvSpPr/>
          <p:nvPr userDrawn="1"/>
        </p:nvSpPr>
        <p:spPr>
          <a:xfrm>
            <a:off x="4840701" y="13086823"/>
            <a:ext cx="241771" cy="241706"/>
          </a:xfrm>
          <a:prstGeom prst="ellipse">
            <a:avLst/>
          </a:prstGeom>
          <a:noFill/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32500" lnSpcReduction="20000"/>
          </a:bodyPr>
          <a:lstStyle/>
          <a:p>
            <a:pPr algn="ctr" defTabSz="1217616">
              <a:buClrTx/>
              <a:buFontTx/>
              <a:buNone/>
            </a:pPr>
            <a:endParaRPr lang="en-US" sz="1800" b="1" kern="1200">
              <a:solidFill>
                <a:srgbClr val="78777A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66780" y="934300"/>
            <a:ext cx="22387030" cy="999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9" name="Picture 78" descr="sgicon_transparent.png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453679" y="13071310"/>
            <a:ext cx="648499" cy="549672"/>
          </a:xfrm>
          <a:prstGeom prst="rect">
            <a:avLst/>
          </a:prstGeom>
        </p:spPr>
      </p:pic>
      <p:sp>
        <p:nvSpPr>
          <p:cNvPr id="80" name="TextBox 79"/>
          <p:cNvSpPr txBox="1"/>
          <p:nvPr userDrawn="1"/>
        </p:nvSpPr>
        <p:spPr>
          <a:xfrm>
            <a:off x="22199139" y="13039054"/>
            <a:ext cx="89915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126">
              <a:buClrTx/>
              <a:buFontTx/>
              <a:buNone/>
              <a:defRPr/>
            </a:pPr>
            <a:fld id="{63EBF4A3-DF90-A145-ABFB-48E1A00C731F}" type="slidenum">
              <a:rPr lang="en-US" sz="1600" smtClean="0">
                <a:solidFill>
                  <a:srgbClr val="FFFFFF"/>
                </a:solidFill>
                <a:ea typeface="+mn-ea"/>
              </a:rPr>
              <a:pPr algn="ctr" defTabSz="914126">
                <a:buClrTx/>
                <a:buFontTx/>
                <a:buNone/>
                <a:defRPr/>
              </a:pPr>
              <a:t>‹#›</a:t>
            </a:fld>
            <a:endParaRPr lang="en-US" sz="1600">
              <a:solidFill>
                <a:srgbClr val="FFFFFF"/>
              </a:solidFill>
              <a:ea typeface="+mn-ea"/>
            </a:endParaRPr>
          </a:p>
        </p:txBody>
      </p:sp>
      <p:cxnSp>
        <p:nvCxnSpPr>
          <p:cNvPr id="81" name="Straight Connector 80"/>
          <p:cNvCxnSpPr/>
          <p:nvPr userDrawn="1"/>
        </p:nvCxnSpPr>
        <p:spPr>
          <a:xfrm>
            <a:off x="23098289" y="13084002"/>
            <a:ext cx="0" cy="390768"/>
          </a:xfrm>
          <a:prstGeom prst="line">
            <a:avLst/>
          </a:prstGeom>
          <a:noFill/>
          <a:ln w="12700" cap="flat" cmpd="sng" algn="ctr">
            <a:solidFill>
              <a:srgbClr val="E6E6E6"/>
            </a:soli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814729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1828804" y="567777"/>
            <a:ext cx="20726399" cy="1133518"/>
          </a:xfrm>
          <a:prstGeom prst="rect">
            <a:avLst/>
          </a:prstGeom>
        </p:spPr>
        <p:txBody>
          <a:bodyPr>
            <a:noAutofit/>
          </a:bodyPr>
          <a:lstStyle/>
          <a:p>
            <a:endParaRPr lang="en-US">
              <a:solidFill>
                <a:schemeClr val="bg2"/>
              </a:solidFill>
            </a:endParaRPr>
          </a:p>
        </p:txBody>
      </p:sp>
      <p:sp>
        <p:nvSpPr>
          <p:cNvPr id="12" name="Subtitle 2"/>
          <p:cNvSpPr txBox="1">
            <a:spLocks/>
          </p:cNvSpPr>
          <p:nvPr userDrawn="1"/>
        </p:nvSpPr>
        <p:spPr>
          <a:xfrm>
            <a:off x="1865381" y="1478874"/>
            <a:ext cx="20653248" cy="839116"/>
          </a:xfrm>
          <a:prstGeom prst="rect">
            <a:avLst/>
          </a:prstGeom>
        </p:spPr>
        <p:txBody>
          <a:bodyPr vert="horz" lIns="217350" tIns="108674" rIns="217350" bIns="108674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3098"/>
          </a:p>
        </p:txBody>
      </p:sp>
      <p:sp>
        <p:nvSpPr>
          <p:cNvPr id="13" name="Subtitle 2"/>
          <p:cNvSpPr txBox="1">
            <a:spLocks/>
          </p:cNvSpPr>
          <p:nvPr userDrawn="1"/>
        </p:nvSpPr>
        <p:spPr>
          <a:xfrm>
            <a:off x="1865381" y="1478874"/>
            <a:ext cx="20653248" cy="839116"/>
          </a:xfrm>
          <a:prstGeom prst="rect">
            <a:avLst/>
          </a:prstGeom>
        </p:spPr>
        <p:txBody>
          <a:bodyPr vert="horz" lIns="217350" tIns="108674" rIns="217350" bIns="108674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3098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30D738-FFA1-3149-BE37-CE55AF46773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47851" y="3340103"/>
            <a:ext cx="20688300" cy="8528050"/>
          </a:xfrm>
          <a:prstGeom prst="rect">
            <a:avLst/>
          </a:prstGeom>
        </p:spPr>
        <p:txBody>
          <a:bodyPr/>
          <a:lstStyle>
            <a:lvl1pPr>
              <a:defRPr sz="3598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1546B74-31B5-0546-B3A3-465C8C8E77B1}"/>
              </a:ext>
            </a:extLst>
          </p:cNvPr>
          <p:cNvSpPr/>
          <p:nvPr userDrawn="1"/>
        </p:nvSpPr>
        <p:spPr>
          <a:xfrm>
            <a:off x="11415490" y="2594356"/>
            <a:ext cx="1553038" cy="127964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280" tIns="45642" rIns="91280" bIns="45642" rtlCol="0" anchor="ctr"/>
          <a:lstStyle/>
          <a:p>
            <a:pPr algn="ctr"/>
            <a:endParaRPr lang="en-US" sz="2398">
              <a:solidFill>
                <a:schemeClr val="accent2"/>
              </a:solidFill>
              <a:latin typeface="Open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1196845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ullet Spread 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1219202" y="2128782"/>
            <a:ext cx="21726648" cy="70436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algn="ctr">
              <a:spcBef>
                <a:spcPts val="0"/>
              </a:spcBef>
              <a:defRPr lang="en-US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nter Subhead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219203" y="742685"/>
            <a:ext cx="21726650" cy="1386098"/>
          </a:xfrm>
          <a:prstGeom prst="rect">
            <a:avLst/>
          </a:prstGeom>
          <a:noFill/>
        </p:spPr>
        <p:txBody>
          <a:bodyPr lIns="0" tIns="0" rIns="0" bIns="0" anchor="t" anchorCtr="0">
            <a:norm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598A9C5-E36D-0B42-BC0E-501A970E7E1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414513" y="3478282"/>
            <a:ext cx="9668014" cy="9064624"/>
          </a:xfrm>
          <a:prstGeom prst="rect">
            <a:avLst/>
          </a:prstGeom>
        </p:spPr>
        <p:txBody>
          <a:bodyPr/>
          <a:lstStyle>
            <a:lvl1pPr marL="571328" indent="-571328">
              <a:buClr>
                <a:schemeClr val="bg2"/>
              </a:buClr>
              <a:buFont typeface="Arial" panose="020B0604020202020204" pitchFamily="34" charset="0"/>
              <a:buChar char="•"/>
              <a:defRPr/>
            </a:lvl1pPr>
            <a:lvl2pPr marL="1658012" indent="-571328" algn="l"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2744694" indent="-571328" algn="l">
              <a:buFont typeface="Wingdings" pitchFamily="2" charset="2"/>
              <a:buChar char="§"/>
              <a:defRPr>
                <a:latin typeface="+mn-lt"/>
              </a:defRPr>
            </a:lvl3pPr>
            <a:lvl4pPr marL="3831384" indent="-571328" algn="l">
              <a:buClr>
                <a:schemeClr val="bg2"/>
              </a:buClr>
              <a:buFont typeface="Wingdings" pitchFamily="2" charset="2"/>
              <a:buChar char="ü"/>
              <a:defRPr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C23D3C76-3A69-E94E-BE56-11EF9B11416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2896982" y="3445770"/>
            <a:ext cx="9668014" cy="9064624"/>
          </a:xfrm>
          <a:prstGeom prst="rect">
            <a:avLst/>
          </a:prstGeom>
        </p:spPr>
        <p:txBody>
          <a:bodyPr/>
          <a:lstStyle>
            <a:lvl1pPr marL="571328" indent="-571328">
              <a:buClr>
                <a:schemeClr val="bg2"/>
              </a:buClr>
              <a:buFont typeface="Arial" panose="020B0604020202020204" pitchFamily="34" charset="0"/>
              <a:buChar char="•"/>
              <a:defRPr/>
            </a:lvl1pPr>
            <a:lvl2pPr marL="1658012" indent="-571328" algn="l"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2744694" indent="-571328" algn="l">
              <a:buFont typeface="Wingdings" pitchFamily="2" charset="2"/>
              <a:buChar char="§"/>
              <a:defRPr>
                <a:latin typeface="+mn-lt"/>
              </a:defRPr>
            </a:lvl3pPr>
            <a:lvl4pPr marL="3831384" indent="-571328" algn="l">
              <a:buClr>
                <a:schemeClr val="bg2"/>
              </a:buClr>
              <a:buFont typeface="Wingdings" pitchFamily="2" charset="2"/>
              <a:buChar char="ü"/>
              <a:defRPr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998834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Layout 3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1219202" y="2128782"/>
            <a:ext cx="21726648" cy="70436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algn="ctr">
              <a:spcBef>
                <a:spcPts val="0"/>
              </a:spcBef>
              <a:defRPr lang="en-US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nter Subhead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219203" y="742685"/>
            <a:ext cx="21726650" cy="1386098"/>
          </a:xfrm>
          <a:prstGeom prst="rect">
            <a:avLst/>
          </a:prstGeom>
          <a:noFill/>
        </p:spPr>
        <p:txBody>
          <a:bodyPr lIns="0" tIns="0" rIns="0" bIns="0" anchor="t" anchorCtr="0">
            <a:norm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0E43EEE-C4A7-7240-A6E1-4511D465819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109731" y="3478282"/>
            <a:ext cx="6911004" cy="9064624"/>
          </a:xfrm>
          <a:prstGeom prst="rect">
            <a:avLst/>
          </a:prstGeom>
        </p:spPr>
        <p:txBody>
          <a:bodyPr/>
          <a:lstStyle>
            <a:lvl1pPr marL="571328" indent="-571328">
              <a:buClr>
                <a:schemeClr val="bg2"/>
              </a:buClr>
              <a:buFont typeface="Arial" panose="020B0604020202020204" pitchFamily="34" charset="0"/>
              <a:buChar char="•"/>
              <a:defRPr/>
            </a:lvl1pPr>
            <a:lvl2pPr marL="1658012" indent="-571328" algn="l"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2744694" indent="-571328" algn="l">
              <a:buFont typeface="Wingdings" pitchFamily="2" charset="2"/>
              <a:buChar char="§"/>
              <a:defRPr>
                <a:latin typeface="+mn-lt"/>
              </a:defRPr>
            </a:lvl3pPr>
            <a:lvl4pPr marL="3831384" indent="-571328" algn="l">
              <a:buClr>
                <a:schemeClr val="bg2"/>
              </a:buClr>
              <a:buFont typeface="Wingdings" pitchFamily="2" charset="2"/>
              <a:buChar char="ü"/>
              <a:defRPr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5B568804-F61F-2446-9466-BCECDC4DD42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627024" y="3478282"/>
            <a:ext cx="6911004" cy="9064624"/>
          </a:xfrm>
          <a:prstGeom prst="rect">
            <a:avLst/>
          </a:prstGeom>
        </p:spPr>
        <p:txBody>
          <a:bodyPr/>
          <a:lstStyle>
            <a:lvl1pPr marL="571328" indent="-571328">
              <a:buClr>
                <a:schemeClr val="bg2"/>
              </a:buClr>
              <a:buFont typeface="Arial" panose="020B0604020202020204" pitchFamily="34" charset="0"/>
              <a:buChar char="•"/>
              <a:defRPr/>
            </a:lvl1pPr>
            <a:lvl2pPr marL="1658012" indent="-571328" algn="l"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2744694" indent="-571328" algn="l">
              <a:buFont typeface="Wingdings" pitchFamily="2" charset="2"/>
              <a:buChar char="§"/>
              <a:defRPr>
                <a:latin typeface="+mn-lt"/>
              </a:defRPr>
            </a:lvl3pPr>
            <a:lvl4pPr marL="3831384" indent="-571328" algn="l">
              <a:buClr>
                <a:schemeClr val="bg2"/>
              </a:buClr>
              <a:buFont typeface="Wingdings" pitchFamily="2" charset="2"/>
              <a:buChar char="ü"/>
              <a:defRPr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882E3BA1-D365-8243-8098-99FEC35A0B6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6144318" y="3478282"/>
            <a:ext cx="6911004" cy="9064624"/>
          </a:xfrm>
          <a:prstGeom prst="rect">
            <a:avLst/>
          </a:prstGeom>
        </p:spPr>
        <p:txBody>
          <a:bodyPr/>
          <a:lstStyle>
            <a:lvl1pPr marL="571328" indent="-571328">
              <a:buClr>
                <a:schemeClr val="bg2"/>
              </a:buClr>
              <a:buFont typeface="Arial" panose="020B0604020202020204" pitchFamily="34" charset="0"/>
              <a:buChar char="•"/>
              <a:defRPr/>
            </a:lvl1pPr>
            <a:lvl2pPr marL="1658012" indent="-571328" algn="l"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2744694" indent="-571328" algn="l">
              <a:buFont typeface="Wingdings" pitchFamily="2" charset="2"/>
              <a:buChar char="§"/>
              <a:defRPr>
                <a:latin typeface="+mn-lt"/>
              </a:defRPr>
            </a:lvl3pPr>
            <a:lvl4pPr marL="3831384" indent="-571328" algn="l">
              <a:buClr>
                <a:schemeClr val="bg2"/>
              </a:buClr>
              <a:buFont typeface="Wingdings" pitchFamily="2" charset="2"/>
              <a:buChar char="ü"/>
              <a:defRPr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520112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Layout 4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1219202" y="2128782"/>
            <a:ext cx="21726648" cy="70436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algn="ctr">
              <a:spcBef>
                <a:spcPts val="0"/>
              </a:spcBef>
              <a:defRPr lang="en-US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nter Subhead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219203" y="742685"/>
            <a:ext cx="21726650" cy="1386098"/>
          </a:xfrm>
          <a:prstGeom prst="rect">
            <a:avLst/>
          </a:prstGeom>
          <a:noFill/>
        </p:spPr>
        <p:txBody>
          <a:bodyPr lIns="0" tIns="0" rIns="0" bIns="0" anchor="t" anchorCtr="0">
            <a:norm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0E43EEE-C4A7-7240-A6E1-4511D465819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70583" y="3478282"/>
            <a:ext cx="5344084" cy="9064624"/>
          </a:xfrm>
          <a:prstGeom prst="rect">
            <a:avLst/>
          </a:prstGeom>
        </p:spPr>
        <p:txBody>
          <a:bodyPr/>
          <a:lstStyle>
            <a:lvl1pPr marL="571328" indent="-571328">
              <a:buClr>
                <a:schemeClr val="bg2"/>
              </a:buClr>
              <a:buFont typeface="Arial" panose="020B0604020202020204" pitchFamily="34" charset="0"/>
              <a:buChar char="•"/>
              <a:defRPr sz="2400"/>
            </a:lvl1pPr>
            <a:lvl2pPr marL="1658012" indent="-571328" algn="l">
              <a:buFont typeface="Arial" panose="020B0604020202020204" pitchFamily="34" charset="0"/>
              <a:buChar char="•"/>
              <a:defRPr sz="2400">
                <a:latin typeface="+mn-lt"/>
              </a:defRPr>
            </a:lvl2pPr>
            <a:lvl3pPr marL="2744694" indent="-571328" algn="l">
              <a:buFont typeface="Wingdings" pitchFamily="2" charset="2"/>
              <a:buChar char="§"/>
              <a:defRPr sz="2400">
                <a:latin typeface="+mn-lt"/>
              </a:defRPr>
            </a:lvl3pPr>
            <a:lvl4pPr marL="3831384" indent="-571328" algn="l">
              <a:buClr>
                <a:schemeClr val="bg2"/>
              </a:buClr>
              <a:buFont typeface="Wingdings" pitchFamily="2" charset="2"/>
              <a:buChar char="ü"/>
              <a:defRPr sz="2400"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5B568804-F61F-2446-9466-BCECDC4DD42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599294" y="3478282"/>
            <a:ext cx="5344084" cy="9064624"/>
          </a:xfrm>
          <a:prstGeom prst="rect">
            <a:avLst/>
          </a:prstGeom>
        </p:spPr>
        <p:txBody>
          <a:bodyPr/>
          <a:lstStyle>
            <a:lvl1pPr marL="571328" indent="-571328">
              <a:buClr>
                <a:schemeClr val="bg2"/>
              </a:buClr>
              <a:buFont typeface="Arial" panose="020B0604020202020204" pitchFamily="34" charset="0"/>
              <a:buChar char="•"/>
              <a:defRPr sz="2400"/>
            </a:lvl1pPr>
            <a:lvl2pPr marL="1658012" indent="-571328" algn="l">
              <a:buFont typeface="Arial" panose="020B0604020202020204" pitchFamily="34" charset="0"/>
              <a:buChar char="•"/>
              <a:defRPr sz="2400">
                <a:latin typeface="+mn-lt"/>
              </a:defRPr>
            </a:lvl2pPr>
            <a:lvl3pPr marL="2744694" indent="-571328" algn="l">
              <a:buFont typeface="Wingdings" pitchFamily="2" charset="2"/>
              <a:buChar char="§"/>
              <a:defRPr sz="2400">
                <a:latin typeface="+mn-lt"/>
              </a:defRPr>
            </a:lvl3pPr>
            <a:lvl4pPr marL="3831384" indent="-571328" algn="l">
              <a:buClr>
                <a:schemeClr val="bg2"/>
              </a:buClr>
              <a:buFont typeface="Wingdings" pitchFamily="2" charset="2"/>
              <a:buChar char="ü"/>
              <a:defRPr sz="2400"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882E3BA1-D365-8243-8098-99FEC35A0B6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2202085" y="3478282"/>
            <a:ext cx="5344084" cy="9064624"/>
          </a:xfrm>
          <a:prstGeom prst="rect">
            <a:avLst/>
          </a:prstGeom>
        </p:spPr>
        <p:txBody>
          <a:bodyPr/>
          <a:lstStyle>
            <a:lvl1pPr marL="571328" indent="-571328">
              <a:buClr>
                <a:schemeClr val="bg2"/>
              </a:buClr>
              <a:buFont typeface="Arial" panose="020B0604020202020204" pitchFamily="34" charset="0"/>
              <a:buChar char="•"/>
              <a:defRPr sz="2400"/>
            </a:lvl1pPr>
            <a:lvl2pPr marL="1658012" indent="-571328" algn="l">
              <a:buFont typeface="Arial" panose="020B0604020202020204" pitchFamily="34" charset="0"/>
              <a:buChar char="•"/>
              <a:defRPr sz="2400">
                <a:latin typeface="+mn-lt"/>
              </a:defRPr>
            </a:lvl2pPr>
            <a:lvl3pPr marL="2744694" indent="-571328" algn="l">
              <a:buFont typeface="Wingdings" pitchFamily="2" charset="2"/>
              <a:buChar char="§"/>
              <a:defRPr sz="2400">
                <a:latin typeface="+mn-lt"/>
              </a:defRPr>
            </a:lvl3pPr>
            <a:lvl4pPr marL="3831384" indent="-571328" algn="l">
              <a:buClr>
                <a:schemeClr val="bg2"/>
              </a:buClr>
              <a:buFont typeface="Wingdings" pitchFamily="2" charset="2"/>
              <a:buChar char="ü"/>
              <a:defRPr sz="2400"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67A7EAEA-CF87-6B40-8257-CF9C6E7C75D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7804879" y="3478282"/>
            <a:ext cx="5344084" cy="9064624"/>
          </a:xfrm>
          <a:prstGeom prst="rect">
            <a:avLst/>
          </a:prstGeom>
        </p:spPr>
        <p:txBody>
          <a:bodyPr/>
          <a:lstStyle>
            <a:lvl1pPr marL="571328" indent="-571328">
              <a:buClr>
                <a:schemeClr val="bg2"/>
              </a:buClr>
              <a:buFont typeface="Arial" panose="020B0604020202020204" pitchFamily="34" charset="0"/>
              <a:buChar char="•"/>
              <a:defRPr sz="2400"/>
            </a:lvl1pPr>
            <a:lvl2pPr marL="1658012" indent="-571328" algn="l">
              <a:buFont typeface="Arial" panose="020B0604020202020204" pitchFamily="34" charset="0"/>
              <a:buChar char="•"/>
              <a:defRPr sz="2400">
                <a:latin typeface="+mn-lt"/>
              </a:defRPr>
            </a:lvl2pPr>
            <a:lvl3pPr marL="2744694" indent="-571328" algn="l">
              <a:buFont typeface="Wingdings" pitchFamily="2" charset="2"/>
              <a:buChar char="§"/>
              <a:defRPr sz="2400">
                <a:latin typeface="+mn-lt"/>
              </a:defRPr>
            </a:lvl3pPr>
            <a:lvl4pPr marL="3831384" indent="-571328" algn="l">
              <a:buClr>
                <a:schemeClr val="bg2"/>
              </a:buClr>
              <a:buFont typeface="Wingdings" pitchFamily="2" charset="2"/>
              <a:buChar char="ü"/>
              <a:defRPr sz="2400"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267136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828804" y="4818125"/>
            <a:ext cx="20726399" cy="1825542"/>
          </a:xfrm>
          <a:prstGeom prst="rect">
            <a:avLst/>
          </a:prstGeom>
        </p:spPr>
        <p:txBody>
          <a:bodyPr/>
          <a:lstStyle>
            <a:lvl1pPr>
              <a:defRPr sz="7998" b="0" i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57601" y="7772400"/>
            <a:ext cx="17068801" cy="35052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lnSpc>
                <a:spcPct val="120000"/>
              </a:lnSpc>
              <a:buNone/>
              <a:defRPr sz="3200" b="0" i="0">
                <a:solidFill>
                  <a:schemeClr val="bg1"/>
                </a:solidFill>
                <a:latin typeface="+mn-lt"/>
              </a:defRPr>
            </a:lvl1pPr>
            <a:lvl2pPr marL="1086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21733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3260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43467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54334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65201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76067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86934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926216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9780297" y="1585467"/>
            <a:ext cx="4823408" cy="4824038"/>
          </a:xfrm>
          <a:prstGeom prst="ellipse">
            <a:avLst/>
          </a:prstGeom>
        </p:spPr>
        <p:txBody>
          <a:bodyPr/>
          <a:lstStyle>
            <a:lvl1pPr algn="ctr">
              <a:defRPr sz="2000" baseline="0"/>
            </a:lvl1pPr>
          </a:lstStyle>
          <a:p>
            <a:r>
              <a:rPr lang="en-US"/>
              <a:t>Click Icon to Change Photo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758472" y="6809613"/>
            <a:ext cx="14867062" cy="119042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7998" b="0" i="0">
                <a:latin typeface="+mj-lt"/>
              </a:defRPr>
            </a:lvl1pPr>
          </a:lstStyle>
          <a:p>
            <a:endParaRPr lang="en-US">
              <a:solidFill>
                <a:schemeClr val="bg2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3657601" y="8638230"/>
            <a:ext cx="17068801" cy="279056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1254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2" y="0"/>
            <a:ext cx="15599918" cy="13716000"/>
          </a:xfrm>
          <a:prstGeom prst="rect">
            <a:avLst/>
          </a:prstGeom>
        </p:spPr>
        <p:txBody>
          <a:bodyPr anchor="ctr"/>
          <a:lstStyle>
            <a:lvl1pPr algn="ctr">
              <a:defRPr baseline="0"/>
            </a:lvl1pPr>
          </a:lstStyle>
          <a:p>
            <a:r>
              <a:rPr lang="en-US"/>
              <a:t>Click Icon to Change Photo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3E20A4C-035A-9A47-8049-D59FEA5B12B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6189455" y="4637581"/>
            <a:ext cx="7464426" cy="444084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7998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78519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 3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-1" y="1"/>
            <a:ext cx="7944679" cy="7126070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Change Photo</a:t>
            </a:r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7944678" y="1"/>
            <a:ext cx="8494646" cy="7126070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marR="0" indent="0" algn="ctr" defTabSz="1086684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lvl1pPr>
          </a:lstStyle>
          <a:p>
            <a:pPr marL="0" marR="0" lvl="0" indent="0" algn="ctr" defTabSz="1086684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/>
          </a:p>
          <a:p>
            <a:pPr marL="0" marR="0" lvl="0" indent="0" algn="ctr" defTabSz="1086684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Icon to Change Photo</a:t>
            </a:r>
          </a:p>
          <a:p>
            <a:endParaRPr lang="en-US"/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16439324" y="1"/>
            <a:ext cx="7944679" cy="7126070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marR="0" indent="0" algn="ctr" defTabSz="1086684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lvl1pPr>
          </a:lstStyle>
          <a:p>
            <a:pPr marL="0" marR="0" lvl="0" indent="0" algn="ctr" defTabSz="1086684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/>
          </a:p>
          <a:p>
            <a:pPr marL="0" marR="0" lvl="0" indent="0" algn="ctr" defTabSz="1086684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Icon to Change Photo</a:t>
            </a:r>
          </a:p>
          <a:p>
            <a:endParaRPr lang="en-US"/>
          </a:p>
        </p:txBody>
      </p:sp>
      <p:sp>
        <p:nvSpPr>
          <p:cNvPr id="12" name="Subtitle 2"/>
          <p:cNvSpPr txBox="1">
            <a:spLocks/>
          </p:cNvSpPr>
          <p:nvPr userDrawn="1"/>
        </p:nvSpPr>
        <p:spPr>
          <a:xfrm>
            <a:off x="1865381" y="1478874"/>
            <a:ext cx="20653248" cy="839116"/>
          </a:xfrm>
          <a:prstGeom prst="rect">
            <a:avLst/>
          </a:prstGeom>
        </p:spPr>
        <p:txBody>
          <a:bodyPr vert="horz" lIns="217350" tIns="108674" rIns="217350" bIns="108674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3098"/>
          </a:p>
        </p:txBody>
      </p:sp>
      <p:sp>
        <p:nvSpPr>
          <p:cNvPr id="13" name="Subtitle 2"/>
          <p:cNvSpPr txBox="1">
            <a:spLocks/>
          </p:cNvSpPr>
          <p:nvPr userDrawn="1"/>
        </p:nvSpPr>
        <p:spPr>
          <a:xfrm>
            <a:off x="1865381" y="1478874"/>
            <a:ext cx="20653248" cy="839116"/>
          </a:xfrm>
          <a:prstGeom prst="rect">
            <a:avLst/>
          </a:prstGeom>
        </p:spPr>
        <p:txBody>
          <a:bodyPr vert="horz" lIns="217350" tIns="108674" rIns="217350" bIns="108674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3098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8C6AEC0-A131-F54C-9FFC-C561BE034690}"/>
              </a:ext>
            </a:extLst>
          </p:cNvPr>
          <p:cNvSpPr txBox="1">
            <a:spLocks/>
          </p:cNvSpPr>
          <p:nvPr userDrawn="1"/>
        </p:nvSpPr>
        <p:spPr>
          <a:xfrm>
            <a:off x="8189844" y="8277283"/>
            <a:ext cx="7944679" cy="1133518"/>
          </a:xfrm>
          <a:prstGeom prst="rect">
            <a:avLst/>
          </a:prstGeom>
        </p:spPr>
        <p:txBody>
          <a:bodyPr>
            <a:noAutofit/>
          </a:bodyPr>
          <a:lstStyle>
            <a:lvl1pPr algn="ctr" defTabSz="543505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bg2"/>
                </a:solidFill>
                <a:latin typeface="+mj-lt"/>
                <a:ea typeface="+mj-ea"/>
                <a:cs typeface="Open Sans"/>
              </a:defRPr>
            </a:lvl1pPr>
          </a:lstStyle>
          <a:p>
            <a:endParaRPr lang="en-US" sz="4798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7C9B4040-BACE-3844-86C1-D47858F4F5CB}"/>
              </a:ext>
            </a:extLst>
          </p:cNvPr>
          <p:cNvSpPr txBox="1">
            <a:spLocks/>
          </p:cNvSpPr>
          <p:nvPr userDrawn="1"/>
        </p:nvSpPr>
        <p:spPr>
          <a:xfrm>
            <a:off x="8179903" y="8277283"/>
            <a:ext cx="6374294" cy="1133518"/>
          </a:xfrm>
          <a:prstGeom prst="rect">
            <a:avLst/>
          </a:prstGeom>
        </p:spPr>
        <p:txBody>
          <a:bodyPr>
            <a:noAutofit/>
          </a:bodyPr>
          <a:lstStyle>
            <a:lvl1pPr algn="ctr" defTabSz="543505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bg2"/>
                </a:solidFill>
                <a:latin typeface="+mj-lt"/>
                <a:ea typeface="+mj-ea"/>
                <a:cs typeface="Open Sans"/>
              </a:defRPr>
            </a:lvl1pPr>
          </a:lstStyle>
          <a:p>
            <a:endParaRPr lang="en-US" sz="4798"/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3B2263D9-49BC-174E-9028-ED210D5AB886}"/>
              </a:ext>
            </a:extLst>
          </p:cNvPr>
          <p:cNvSpPr txBox="1">
            <a:spLocks/>
          </p:cNvSpPr>
          <p:nvPr userDrawn="1"/>
        </p:nvSpPr>
        <p:spPr>
          <a:xfrm>
            <a:off x="7993059" y="9707059"/>
            <a:ext cx="6747983" cy="10758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 defTabSz="543505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Open Sans Light"/>
              </a:defRPr>
            </a:lvl1pPr>
            <a:lvl2pPr marL="543505" indent="0" algn="ctr" defTabSz="543505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549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2pPr>
            <a:lvl3pPr marL="1087009" indent="0" algn="ctr" defTabSz="543505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549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3pPr>
            <a:lvl4pPr marL="1630517" indent="0" algn="ctr" defTabSz="543505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549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4pPr>
            <a:lvl5pPr marL="2174020" indent="0" algn="ctr" defTabSz="543505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549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5pPr>
            <a:lvl6pPr marL="2989277" indent="-271753" algn="l" defTabSz="543505" rtl="0" eaLnBrk="1" latinLnBrk="0" hangingPunct="1">
              <a:spcBef>
                <a:spcPct val="20000"/>
              </a:spcBef>
              <a:buFont typeface="Arial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2783" indent="-271753" algn="l" defTabSz="543505" rtl="0" eaLnBrk="1" latinLnBrk="0" hangingPunct="1">
              <a:spcBef>
                <a:spcPct val="20000"/>
              </a:spcBef>
              <a:buFont typeface="Arial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76289" indent="-271753" algn="l" defTabSz="543505" rtl="0" eaLnBrk="1" latinLnBrk="0" hangingPunct="1">
              <a:spcBef>
                <a:spcPct val="20000"/>
              </a:spcBef>
              <a:buFont typeface="Arial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19794" indent="-271753" algn="l" defTabSz="543505" rtl="0" eaLnBrk="1" latinLnBrk="0" hangingPunct="1">
              <a:spcBef>
                <a:spcPct val="20000"/>
              </a:spcBef>
              <a:buFont typeface="Arial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320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9B6CFAC-DE40-2A49-8AB5-7476463CE97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38900" y="7900672"/>
            <a:ext cx="7509976" cy="1203324"/>
          </a:xfrm>
          <a:prstGeom prst="rect">
            <a:avLst/>
          </a:prstGeom>
        </p:spPr>
        <p:txBody>
          <a:bodyPr/>
          <a:lstStyle>
            <a:lvl1pPr algn="ctr">
              <a:defRPr sz="3998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B4E169AF-5D67-CA47-A0CE-69C80D93C3B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356924" y="7900672"/>
            <a:ext cx="7509976" cy="1203324"/>
          </a:xfrm>
          <a:prstGeom prst="rect">
            <a:avLst/>
          </a:prstGeom>
        </p:spPr>
        <p:txBody>
          <a:bodyPr/>
          <a:lstStyle>
            <a:lvl1pPr algn="ctr">
              <a:defRPr sz="3998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E768A295-6D91-804D-AB7D-4F150F2D9A9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6713846" y="7900672"/>
            <a:ext cx="7509976" cy="1203324"/>
          </a:xfrm>
          <a:prstGeom prst="rect">
            <a:avLst/>
          </a:prstGeom>
        </p:spPr>
        <p:txBody>
          <a:bodyPr/>
          <a:lstStyle>
            <a:lvl1pPr algn="ctr">
              <a:defRPr sz="3998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F4CADA4-D39F-6443-97F6-AFB106C0E44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38900" y="9702388"/>
            <a:ext cx="7508875" cy="1857376"/>
          </a:xfrm>
          <a:prstGeom prst="rect">
            <a:avLst/>
          </a:prstGeom>
        </p:spPr>
        <p:txBody>
          <a:bodyPr/>
          <a:lstStyle>
            <a:lvl1pPr algn="ctr">
              <a:defRPr sz="3598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6C8D13E3-F06F-7041-BE91-60BB06F91EE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333776" y="9702388"/>
            <a:ext cx="7508875" cy="1857376"/>
          </a:xfrm>
          <a:prstGeom prst="rect">
            <a:avLst/>
          </a:prstGeom>
        </p:spPr>
        <p:txBody>
          <a:bodyPr/>
          <a:lstStyle>
            <a:lvl1pPr algn="ctr">
              <a:defRPr sz="3598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9F9B074D-D5F5-3543-8913-F8C9D764959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6712748" y="9702388"/>
            <a:ext cx="7509976" cy="1857376"/>
          </a:xfrm>
          <a:prstGeom prst="rect">
            <a:avLst/>
          </a:prstGeom>
        </p:spPr>
        <p:txBody>
          <a:bodyPr/>
          <a:lstStyle>
            <a:lvl1pPr algn="ctr">
              <a:defRPr sz="3598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41295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D2FFB88-EC9B-4B92-9F41-562E94169B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68763BFF-5872-4E36-862F-82939CE2EF2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24384000" cy="13716000"/>
          </a:xfrm>
          <a:prstGeom prst="rect">
            <a:avLst/>
          </a:prstGeom>
          <a:blipFill dpi="0" rotWithShape="1">
            <a:blip r:embed="rId2" cstate="screen">
              <a:alphaModFix amt="43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anchor="ctr">
            <a:normAutofit/>
          </a:bodyPr>
          <a:lstStyle>
            <a:lvl1pPr algn="ctr">
              <a:defRPr sz="3596"/>
            </a:lvl1pPr>
          </a:lstStyle>
          <a:p>
            <a:r>
              <a:rPr lang="en-US"/>
              <a:t>Click Icon to Change Photo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1EC3FE05-117B-854A-82A8-F19D64577E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6401" y="7792280"/>
            <a:ext cx="21031201" cy="1524348"/>
          </a:xfrm>
          <a:prstGeom prst="rect">
            <a:avLst/>
          </a:prstGeo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635029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Layout 4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1219202" y="2128782"/>
            <a:ext cx="21726648" cy="70436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algn="ctr">
              <a:spcBef>
                <a:spcPts val="0"/>
              </a:spcBef>
              <a:defRPr lang="en-US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nter Subhead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219203" y="742685"/>
            <a:ext cx="21726650" cy="1386098"/>
          </a:xfrm>
          <a:prstGeom prst="rect">
            <a:avLst/>
          </a:prstGeom>
          <a:noFill/>
        </p:spPr>
        <p:txBody>
          <a:bodyPr lIns="0" tIns="0" rIns="0" bIns="0" anchor="t" anchorCtr="0">
            <a:norm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0E43EEE-C4A7-7240-A6E1-4511D465819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70583" y="3478282"/>
            <a:ext cx="5344084" cy="9064624"/>
          </a:xfrm>
          <a:prstGeom prst="rect">
            <a:avLst/>
          </a:prstGeom>
        </p:spPr>
        <p:txBody>
          <a:bodyPr/>
          <a:lstStyle>
            <a:lvl1pPr marL="571328" indent="-571328">
              <a:buClr>
                <a:schemeClr val="bg2"/>
              </a:buClr>
              <a:buFont typeface="Arial" panose="020B0604020202020204" pitchFamily="34" charset="0"/>
              <a:buChar char="•"/>
              <a:defRPr sz="2400"/>
            </a:lvl1pPr>
            <a:lvl2pPr marL="1658012" indent="-571328" algn="l">
              <a:buFont typeface="Arial" panose="020B0604020202020204" pitchFamily="34" charset="0"/>
              <a:buChar char="•"/>
              <a:defRPr sz="2400">
                <a:latin typeface="+mn-lt"/>
              </a:defRPr>
            </a:lvl2pPr>
            <a:lvl3pPr marL="2744694" indent="-571328" algn="l">
              <a:buFont typeface="Wingdings" pitchFamily="2" charset="2"/>
              <a:buChar char="§"/>
              <a:defRPr sz="2400">
                <a:latin typeface="+mn-lt"/>
              </a:defRPr>
            </a:lvl3pPr>
            <a:lvl4pPr marL="3831384" indent="-571328" algn="l">
              <a:buClr>
                <a:schemeClr val="bg2"/>
              </a:buClr>
              <a:buFont typeface="Wingdings" pitchFamily="2" charset="2"/>
              <a:buChar char="ü"/>
              <a:defRPr sz="2400"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5B568804-F61F-2446-9466-BCECDC4DD42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599294" y="3478282"/>
            <a:ext cx="5344084" cy="9064624"/>
          </a:xfrm>
          <a:prstGeom prst="rect">
            <a:avLst/>
          </a:prstGeom>
        </p:spPr>
        <p:txBody>
          <a:bodyPr/>
          <a:lstStyle>
            <a:lvl1pPr marL="571328" indent="-571328">
              <a:buClr>
                <a:schemeClr val="bg2"/>
              </a:buClr>
              <a:buFont typeface="Arial" panose="020B0604020202020204" pitchFamily="34" charset="0"/>
              <a:buChar char="•"/>
              <a:defRPr sz="2400"/>
            </a:lvl1pPr>
            <a:lvl2pPr marL="1658012" indent="-571328" algn="l">
              <a:buFont typeface="Arial" panose="020B0604020202020204" pitchFamily="34" charset="0"/>
              <a:buChar char="•"/>
              <a:defRPr sz="2400">
                <a:latin typeface="+mn-lt"/>
              </a:defRPr>
            </a:lvl2pPr>
            <a:lvl3pPr marL="2744694" indent="-571328" algn="l">
              <a:buFont typeface="Wingdings" pitchFamily="2" charset="2"/>
              <a:buChar char="§"/>
              <a:defRPr sz="2400">
                <a:latin typeface="+mn-lt"/>
              </a:defRPr>
            </a:lvl3pPr>
            <a:lvl4pPr marL="3831384" indent="-571328" algn="l">
              <a:buClr>
                <a:schemeClr val="bg2"/>
              </a:buClr>
              <a:buFont typeface="Wingdings" pitchFamily="2" charset="2"/>
              <a:buChar char="ü"/>
              <a:defRPr sz="2400"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882E3BA1-D365-8243-8098-99FEC35A0B6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2202085" y="3478282"/>
            <a:ext cx="5344084" cy="9064624"/>
          </a:xfrm>
          <a:prstGeom prst="rect">
            <a:avLst/>
          </a:prstGeom>
        </p:spPr>
        <p:txBody>
          <a:bodyPr/>
          <a:lstStyle>
            <a:lvl1pPr marL="571328" indent="-571328">
              <a:buClr>
                <a:schemeClr val="bg2"/>
              </a:buClr>
              <a:buFont typeface="Arial" panose="020B0604020202020204" pitchFamily="34" charset="0"/>
              <a:buChar char="•"/>
              <a:defRPr sz="2400"/>
            </a:lvl1pPr>
            <a:lvl2pPr marL="1658012" indent="-571328" algn="l">
              <a:buFont typeface="Arial" panose="020B0604020202020204" pitchFamily="34" charset="0"/>
              <a:buChar char="•"/>
              <a:defRPr sz="2400">
                <a:latin typeface="+mn-lt"/>
              </a:defRPr>
            </a:lvl2pPr>
            <a:lvl3pPr marL="2744694" indent="-571328" algn="l">
              <a:buFont typeface="Wingdings" pitchFamily="2" charset="2"/>
              <a:buChar char="§"/>
              <a:defRPr sz="2400">
                <a:latin typeface="+mn-lt"/>
              </a:defRPr>
            </a:lvl3pPr>
            <a:lvl4pPr marL="3831384" indent="-571328" algn="l">
              <a:buClr>
                <a:schemeClr val="bg2"/>
              </a:buClr>
              <a:buFont typeface="Wingdings" pitchFamily="2" charset="2"/>
              <a:buChar char="ü"/>
              <a:defRPr sz="2400"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67A7EAEA-CF87-6B40-8257-CF9C6E7C75D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7804879" y="3478282"/>
            <a:ext cx="5344084" cy="9064624"/>
          </a:xfrm>
          <a:prstGeom prst="rect">
            <a:avLst/>
          </a:prstGeom>
        </p:spPr>
        <p:txBody>
          <a:bodyPr/>
          <a:lstStyle>
            <a:lvl1pPr marL="571328" indent="-571328">
              <a:buClr>
                <a:schemeClr val="bg2"/>
              </a:buClr>
              <a:buFont typeface="Arial" panose="020B0604020202020204" pitchFamily="34" charset="0"/>
              <a:buChar char="•"/>
              <a:defRPr sz="2400"/>
            </a:lvl1pPr>
            <a:lvl2pPr marL="1658012" indent="-571328" algn="l">
              <a:buFont typeface="Arial" panose="020B0604020202020204" pitchFamily="34" charset="0"/>
              <a:buChar char="•"/>
              <a:defRPr sz="2400">
                <a:latin typeface="+mn-lt"/>
              </a:defRPr>
            </a:lvl2pPr>
            <a:lvl3pPr marL="2744694" indent="-571328" algn="l">
              <a:buFont typeface="Wingdings" pitchFamily="2" charset="2"/>
              <a:buChar char="§"/>
              <a:defRPr sz="2400">
                <a:latin typeface="+mn-lt"/>
              </a:defRPr>
            </a:lvl3pPr>
            <a:lvl4pPr marL="3831384" indent="-571328" algn="l">
              <a:buClr>
                <a:schemeClr val="bg2"/>
              </a:buClr>
              <a:buFont typeface="Wingdings" pitchFamily="2" charset="2"/>
              <a:buChar char="ü"/>
              <a:defRPr sz="2400"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774776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eft +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5FD6A7D7-BBFC-46D9-BD6F-3630418ED19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3293728" y="0"/>
            <a:ext cx="11090272" cy="1371600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Change Phot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E82905-E4DD-CC40-97AE-8641DAD288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76401" y="5997993"/>
            <a:ext cx="9177130" cy="2651126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6130517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Photo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E85F8F51-1C9B-4B44-BA73-D1A2CB4E809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" y="2"/>
            <a:ext cx="24383998" cy="7568416"/>
          </a:xfrm>
          <a:prstGeom prst="rect">
            <a:avLst/>
          </a:prstGeo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r="2359"/>
            </a:stretch>
          </a:blipFill>
        </p:spPr>
        <p:txBody>
          <a:bodyPr vert="horz" lIns="91440" tIns="45720" rIns="91440" bIns="45720" rtlCol="0">
            <a:normAutofit/>
          </a:bodyPr>
          <a:lstStyle>
            <a:lvl1pPr algn="ctr">
              <a:defRPr lang="en-US" sz="3596"/>
            </a:lvl1pPr>
          </a:lstStyle>
          <a:p>
            <a:r>
              <a:rPr lang="en-US"/>
              <a:t>Click Icon to Change Photo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89F5119-43B2-3247-9069-5ED3B058975C}"/>
              </a:ext>
            </a:extLst>
          </p:cNvPr>
          <p:cNvSpPr txBox="1"/>
          <p:nvPr userDrawn="1"/>
        </p:nvSpPr>
        <p:spPr>
          <a:xfrm>
            <a:off x="3762107" y="9802409"/>
            <a:ext cx="4538807" cy="13231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7998">
                <a:solidFill>
                  <a:schemeClr val="bg1"/>
                </a:solidFill>
                <a:latin typeface="+mj-lt"/>
              </a:rPr>
              <a:t>ARIAL 40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C6D87A55-D413-1049-ABD0-5D7F87221D68}"/>
              </a:ext>
            </a:extLst>
          </p:cNvPr>
          <p:cNvSpPr/>
          <p:nvPr userDrawn="1"/>
        </p:nvSpPr>
        <p:spPr>
          <a:xfrm>
            <a:off x="3089192" y="10312586"/>
            <a:ext cx="413080" cy="41308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>
              <a:latin typeface="Open Sans Light"/>
            </a:endParaRP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7ACFACF9-DD67-3F4C-B9D9-F4FD25170BB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1042718" y="9218801"/>
            <a:ext cx="11552588" cy="2187574"/>
          </a:xfrm>
          <a:prstGeom prst="rect">
            <a:avLst/>
          </a:prstGeom>
        </p:spPr>
        <p:txBody>
          <a:bodyPr/>
          <a:lstStyle>
            <a:lvl1pPr algn="l">
              <a:defRPr sz="3998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6857773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hoto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AEDCD491-7B04-4A5E-975C-94607A7031F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2201542" y="-16"/>
            <a:ext cx="12182463" cy="6600824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lIns="91440" tIns="45720" rIns="91440" bIns="45720" rtlCol="0" anchor="ctr">
            <a:normAutofit/>
          </a:bodyPr>
          <a:lstStyle>
            <a:lvl1pPr algn="ctr">
              <a:defRPr lang="en-US" sz="3596"/>
            </a:lvl1pPr>
          </a:lstStyle>
          <a:p>
            <a:pPr marL="0" lvl="0" indent="0">
              <a:buNone/>
            </a:pPr>
            <a:r>
              <a:rPr lang="en-US"/>
              <a:t>Click Icon to Change Photo</a:t>
            </a:r>
          </a:p>
        </p:txBody>
      </p:sp>
      <p:sp>
        <p:nvSpPr>
          <p:cNvPr id="13" name="Picture Placeholder 6">
            <a:extLst>
              <a:ext uri="{FF2B5EF4-FFF2-40B4-BE49-F238E27FC236}">
                <a16:creationId xmlns:a16="http://schemas.microsoft.com/office/drawing/2014/main" id="{3629CCC8-B845-4CF7-93E5-FADCF3BFBCF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" y="-16"/>
            <a:ext cx="12201537" cy="6600824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lIns="91440" tIns="45720" rIns="91440" bIns="45720" rtlCol="0" anchor="ctr">
            <a:normAutofit/>
          </a:bodyPr>
          <a:lstStyle>
            <a:lvl1pPr algn="ctr">
              <a:defRPr lang="en-US" sz="3596"/>
            </a:lvl1pPr>
          </a:lstStyle>
          <a:p>
            <a:pPr marL="0" lvl="0" indent="0">
              <a:buNone/>
            </a:pPr>
            <a:r>
              <a:rPr lang="en-US"/>
              <a:t>Click Icon to Change Photo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9BD1019-6DE8-224E-9965-F947CEE8FA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29585" y="6825853"/>
            <a:ext cx="6850508" cy="762750"/>
          </a:xfrm>
          <a:prstGeom prst="rect">
            <a:avLst/>
          </a:prstGeom>
        </p:spPr>
        <p:txBody>
          <a:bodyPr/>
          <a:lstStyle>
            <a:lvl1pPr>
              <a:defRPr sz="3998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989BA1BE-CC15-1B48-B94A-D536459B452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32502" y="8463676"/>
            <a:ext cx="3378200" cy="898524"/>
          </a:xfrm>
          <a:prstGeom prst="rect">
            <a:avLst/>
          </a:prstGeom>
        </p:spPr>
        <p:txBody>
          <a:bodyPr anchor="ctr"/>
          <a:lstStyle>
            <a:lvl1pPr algn="ctr">
              <a:defRPr sz="4798" b="1">
                <a:solidFill>
                  <a:schemeClr val="bg2"/>
                </a:solidFill>
              </a:defRPr>
            </a:lvl1pPr>
          </a:lstStyle>
          <a:p>
            <a:r>
              <a:rPr lang="id-ID" sz="32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32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32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22" name="Text Placeholder 20">
            <a:extLst>
              <a:ext uri="{FF2B5EF4-FFF2-40B4-BE49-F238E27FC236}">
                <a16:creationId xmlns:a16="http://schemas.microsoft.com/office/drawing/2014/main" id="{138901D1-EDB0-BB45-998F-7D756253BF0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802544" y="9755691"/>
            <a:ext cx="6737351" cy="2187574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EB53C5B0-0511-764B-9818-C22F323DFD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739621" y="8463676"/>
            <a:ext cx="3378200" cy="898524"/>
          </a:xfrm>
          <a:prstGeom prst="rect">
            <a:avLst/>
          </a:prstGeom>
        </p:spPr>
        <p:txBody>
          <a:bodyPr anchor="ctr"/>
          <a:lstStyle>
            <a:lvl1pPr algn="ctr">
              <a:defRPr sz="4798" b="1">
                <a:solidFill>
                  <a:schemeClr val="bg2"/>
                </a:solidFill>
              </a:defRPr>
            </a:lvl1pPr>
          </a:lstStyle>
          <a:p>
            <a:r>
              <a:rPr lang="id-ID" sz="32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32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32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20C9A8F2-2702-0D49-BEAB-24F408308A8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4909664" y="9755691"/>
            <a:ext cx="6737351" cy="2187574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3AF5E2-A761-6144-A007-72AC2FC28ADF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14843129" y="6826250"/>
            <a:ext cx="6851650" cy="762352"/>
          </a:xfrm>
          <a:prstGeom prst="rect">
            <a:avLst/>
          </a:prstGeom>
        </p:spPr>
        <p:txBody>
          <a:bodyPr anchor="ctr"/>
          <a:lstStyle>
            <a:lvl1pPr algn="ctr">
              <a:defRPr sz="3998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185826000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 + Content Gri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0" hasCustomPrompt="1"/>
          </p:nvPr>
        </p:nvSpPr>
        <p:spPr>
          <a:xfrm>
            <a:off x="3" y="0"/>
            <a:ext cx="7792819" cy="6857992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11" hasCustomPrompt="1"/>
          </p:nvPr>
        </p:nvSpPr>
        <p:spPr>
          <a:xfrm>
            <a:off x="7832574" y="6857994"/>
            <a:ext cx="7913413" cy="684194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</p:txBody>
      </p:sp>
      <p:sp>
        <p:nvSpPr>
          <p:cNvPr id="9" name="Picture Placeholder 6"/>
          <p:cNvSpPr>
            <a:spLocks noGrp="1"/>
          </p:cNvSpPr>
          <p:nvPr>
            <p:ph type="pic" sz="quarter" idx="12" hasCustomPrompt="1"/>
          </p:nvPr>
        </p:nvSpPr>
        <p:spPr>
          <a:xfrm>
            <a:off x="15784250" y="-3870"/>
            <a:ext cx="8599752" cy="6857992"/>
          </a:xfrm>
          <a:prstGeom prst="rect">
            <a:avLst/>
          </a:prstGeom>
        </p:spPr>
        <p:txBody>
          <a:bodyPr anchor="ctr"/>
          <a:lstStyle>
            <a:lvl1pPr marL="0" marR="0" indent="0" algn="ctr" defTabSz="1086684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lvl1pPr>
          </a:lstStyle>
          <a:p>
            <a:pPr marL="0" marR="0" lvl="0" indent="0" algn="ctr" defTabSz="1086684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id-ID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7DA256D9-E171-584A-A056-2CDE62F86F54}"/>
              </a:ext>
            </a:extLst>
          </p:cNvPr>
          <p:cNvSpPr/>
          <p:nvPr/>
        </p:nvSpPr>
        <p:spPr>
          <a:xfrm>
            <a:off x="11640389" y="1873071"/>
            <a:ext cx="297786" cy="29778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2800">
              <a:solidFill>
                <a:srgbClr val="82C65C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C1F988B-95B2-0F41-B509-46D2185FD22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100180" y="2661998"/>
            <a:ext cx="3378200" cy="898524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id-ID" sz="32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32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32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634465F0-AAD5-2641-9954-3B6DC6D607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270223" y="3815113"/>
            <a:ext cx="6737351" cy="2187574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0B873057-9D46-3445-9E3A-C036B4796A50}"/>
              </a:ext>
            </a:extLst>
          </p:cNvPr>
          <p:cNvSpPr/>
          <p:nvPr userDrawn="1"/>
        </p:nvSpPr>
        <p:spPr>
          <a:xfrm>
            <a:off x="3834856" y="7902811"/>
            <a:ext cx="297786" cy="29778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2800">
              <a:solidFill>
                <a:srgbClr val="82C65C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824912F3-5F88-2F4F-8431-A637B459D18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94647" y="8691738"/>
            <a:ext cx="3378200" cy="898524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id-ID" sz="32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32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32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2C069D62-C773-5F4C-A228-C8061D7CD7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64691" y="9844853"/>
            <a:ext cx="6737351" cy="2187574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C038E26D-F877-0240-9507-DA27C78FD74B}"/>
              </a:ext>
            </a:extLst>
          </p:cNvPr>
          <p:cNvSpPr/>
          <p:nvPr userDrawn="1"/>
        </p:nvSpPr>
        <p:spPr>
          <a:xfrm>
            <a:off x="20115150" y="7902811"/>
            <a:ext cx="297786" cy="29778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2800">
              <a:solidFill>
                <a:srgbClr val="82C65C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BEACD3D0-A27A-B14E-8A1F-10B935F12B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574941" y="8691738"/>
            <a:ext cx="3378200" cy="898524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id-ID" sz="32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32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32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27" name="Text Placeholder 20">
            <a:extLst>
              <a:ext uri="{FF2B5EF4-FFF2-40B4-BE49-F238E27FC236}">
                <a16:creationId xmlns:a16="http://schemas.microsoft.com/office/drawing/2014/main" id="{5BAB2EAA-8AB6-9D43-8F6D-345D513DF8F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6744984" y="9844853"/>
            <a:ext cx="6737351" cy="2187574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5677214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hoto + Content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Oval 25">
            <a:extLst>
              <a:ext uri="{FF2B5EF4-FFF2-40B4-BE49-F238E27FC236}">
                <a16:creationId xmlns:a16="http://schemas.microsoft.com/office/drawing/2014/main" id="{B53D3BA0-FFB2-F142-8B78-89C6BBCC7B73}"/>
              </a:ext>
            </a:extLst>
          </p:cNvPr>
          <p:cNvSpPr/>
          <p:nvPr userDrawn="1"/>
        </p:nvSpPr>
        <p:spPr>
          <a:xfrm>
            <a:off x="4325188" y="1097819"/>
            <a:ext cx="297786" cy="29778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2800">
              <a:solidFill>
                <a:srgbClr val="82C65C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27E1406B-0B0E-B245-8650-E94BCBE9979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84979" y="1886746"/>
            <a:ext cx="3378200" cy="898524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id-ID" sz="32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32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32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28" name="Text Placeholder 20">
            <a:extLst>
              <a:ext uri="{FF2B5EF4-FFF2-40B4-BE49-F238E27FC236}">
                <a16:creationId xmlns:a16="http://schemas.microsoft.com/office/drawing/2014/main" id="{9FE6C80D-0441-FB4E-A161-FE53A7B70F2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55022" y="3039861"/>
            <a:ext cx="6737351" cy="2187574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03C60729-DA93-AA4B-A8A5-F5F97051F7C2}"/>
              </a:ext>
            </a:extLst>
          </p:cNvPr>
          <p:cNvSpPr/>
          <p:nvPr userDrawn="1"/>
        </p:nvSpPr>
        <p:spPr>
          <a:xfrm>
            <a:off x="4325188" y="8253993"/>
            <a:ext cx="297786" cy="29778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2800">
              <a:solidFill>
                <a:srgbClr val="82C65C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EF150151-68FA-C644-A144-79CA9B1B943C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>
            <a:off x="2784979" y="9042920"/>
            <a:ext cx="3378200" cy="898524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id-ID" sz="32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32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32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31" name="Text Placeholder 20">
            <a:extLst>
              <a:ext uri="{FF2B5EF4-FFF2-40B4-BE49-F238E27FC236}">
                <a16:creationId xmlns:a16="http://schemas.microsoft.com/office/drawing/2014/main" id="{3092E41E-50E9-5545-A36B-F0DE5B3C3FB4}"/>
              </a:ext>
            </a:extLst>
          </p:cNvPr>
          <p:cNvSpPr>
            <a:spLocks noGrp="1"/>
          </p:cNvSpPr>
          <p:nvPr>
            <p:ph type="body" sz="quarter" idx="93"/>
          </p:nvPr>
        </p:nvSpPr>
        <p:spPr>
          <a:xfrm>
            <a:off x="955022" y="10196035"/>
            <a:ext cx="6737351" cy="2187574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7865CAE8-5CF4-7045-91ED-E8C12AE59741}"/>
              </a:ext>
            </a:extLst>
          </p:cNvPr>
          <p:cNvSpPr/>
          <p:nvPr userDrawn="1"/>
        </p:nvSpPr>
        <p:spPr>
          <a:xfrm>
            <a:off x="20168164" y="1097819"/>
            <a:ext cx="297786" cy="29778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2800">
              <a:solidFill>
                <a:srgbClr val="82C65C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8C375E08-091F-7340-B9B7-C2C3CF326179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18627955" y="1886746"/>
            <a:ext cx="3378200" cy="898524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id-ID" sz="32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32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32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34" name="Text Placeholder 20">
            <a:extLst>
              <a:ext uri="{FF2B5EF4-FFF2-40B4-BE49-F238E27FC236}">
                <a16:creationId xmlns:a16="http://schemas.microsoft.com/office/drawing/2014/main" id="{9B4471DD-9484-E84C-969B-7B070770AA17}"/>
              </a:ext>
            </a:extLst>
          </p:cNvPr>
          <p:cNvSpPr>
            <a:spLocks noGrp="1"/>
          </p:cNvSpPr>
          <p:nvPr>
            <p:ph type="body" sz="quarter" idx="95"/>
          </p:nvPr>
        </p:nvSpPr>
        <p:spPr>
          <a:xfrm>
            <a:off x="16797996" y="3039861"/>
            <a:ext cx="6737351" cy="2187574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F28752F7-ECC1-144E-8FEC-1C4E4E12F7D1}"/>
              </a:ext>
            </a:extLst>
          </p:cNvPr>
          <p:cNvSpPr/>
          <p:nvPr userDrawn="1"/>
        </p:nvSpPr>
        <p:spPr>
          <a:xfrm>
            <a:off x="20168164" y="8253993"/>
            <a:ext cx="297786" cy="29778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2800">
              <a:solidFill>
                <a:srgbClr val="82C65C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CABBF111-8A51-D343-A1B5-F0E2106E8081}"/>
              </a:ext>
            </a:extLst>
          </p:cNvPr>
          <p:cNvSpPr>
            <a:spLocks noGrp="1"/>
          </p:cNvSpPr>
          <p:nvPr>
            <p:ph type="body" sz="quarter" idx="96" hasCustomPrompt="1"/>
          </p:nvPr>
        </p:nvSpPr>
        <p:spPr>
          <a:xfrm>
            <a:off x="18627955" y="9042920"/>
            <a:ext cx="3378200" cy="898524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id-ID" sz="3200" b="1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RIAL </a:t>
            </a:r>
            <a:r>
              <a:rPr lang="id-ID" sz="3200" b="1">
                <a:solidFill>
                  <a:srgbClr val="82C65C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6</a:t>
            </a:r>
            <a:r>
              <a:rPr lang="id-ID" sz="3200" b="1"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</p:txBody>
      </p:sp>
      <p:sp>
        <p:nvSpPr>
          <p:cNvPr id="37" name="Text Placeholder 20">
            <a:extLst>
              <a:ext uri="{FF2B5EF4-FFF2-40B4-BE49-F238E27FC236}">
                <a16:creationId xmlns:a16="http://schemas.microsoft.com/office/drawing/2014/main" id="{979E147C-32E7-F049-A2C1-AA7010606F45}"/>
              </a:ext>
            </a:extLst>
          </p:cNvPr>
          <p:cNvSpPr>
            <a:spLocks noGrp="1"/>
          </p:cNvSpPr>
          <p:nvPr>
            <p:ph type="body" sz="quarter" idx="97"/>
          </p:nvPr>
        </p:nvSpPr>
        <p:spPr>
          <a:xfrm>
            <a:off x="16797996" y="10196035"/>
            <a:ext cx="6737351" cy="2187574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Рисунок 4">
            <a:extLst>
              <a:ext uri="{FF2B5EF4-FFF2-40B4-BE49-F238E27FC236}">
                <a16:creationId xmlns:a16="http://schemas.microsoft.com/office/drawing/2014/main" id="{ED79AA77-FDFA-5B4C-84F9-3E8CD5D6B297}"/>
              </a:ext>
            </a:extLst>
          </p:cNvPr>
          <p:cNvSpPr>
            <a:spLocks noGrp="1"/>
          </p:cNvSpPr>
          <p:nvPr>
            <p:ph type="pic" sz="quarter" idx="87" hasCustomPrompt="1"/>
          </p:nvPr>
        </p:nvSpPr>
        <p:spPr>
          <a:xfrm>
            <a:off x="8478748" y="-28516"/>
            <a:ext cx="3694398" cy="6927156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marR="0" indent="0" algn="ctr" defTabSz="1086684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500"/>
            </a:lvl1pPr>
          </a:lstStyle>
          <a:p>
            <a:pPr marL="0" marR="0" lvl="0" indent="0" algn="ctr" defTabSz="1086684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en-US"/>
          </a:p>
        </p:txBody>
      </p:sp>
      <p:sp>
        <p:nvSpPr>
          <p:cNvPr id="19" name="Рисунок 4">
            <a:extLst>
              <a:ext uri="{FF2B5EF4-FFF2-40B4-BE49-F238E27FC236}">
                <a16:creationId xmlns:a16="http://schemas.microsoft.com/office/drawing/2014/main" id="{EF41D5EF-FBA6-5040-9E08-674A4815AACE}"/>
              </a:ext>
            </a:extLst>
          </p:cNvPr>
          <p:cNvSpPr>
            <a:spLocks noGrp="1"/>
          </p:cNvSpPr>
          <p:nvPr>
            <p:ph type="pic" sz="quarter" idx="88" hasCustomPrompt="1"/>
          </p:nvPr>
        </p:nvSpPr>
        <p:spPr>
          <a:xfrm>
            <a:off x="12215147" y="-28516"/>
            <a:ext cx="3694398" cy="6927156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marR="0" indent="0" algn="ctr" defTabSz="1086684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500"/>
            </a:lvl1pPr>
          </a:lstStyle>
          <a:p>
            <a:pPr marL="0" marR="0" lvl="0" indent="0" algn="ctr" defTabSz="1086684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en-US"/>
          </a:p>
        </p:txBody>
      </p:sp>
      <p:sp>
        <p:nvSpPr>
          <p:cNvPr id="20" name="Рисунок 4">
            <a:extLst>
              <a:ext uri="{FF2B5EF4-FFF2-40B4-BE49-F238E27FC236}">
                <a16:creationId xmlns:a16="http://schemas.microsoft.com/office/drawing/2014/main" id="{B77BD9E3-621D-6C4F-B3D9-913E268DF3A1}"/>
              </a:ext>
            </a:extLst>
          </p:cNvPr>
          <p:cNvSpPr>
            <a:spLocks noGrp="1"/>
          </p:cNvSpPr>
          <p:nvPr>
            <p:ph type="pic" sz="quarter" idx="89" hasCustomPrompt="1"/>
          </p:nvPr>
        </p:nvSpPr>
        <p:spPr>
          <a:xfrm>
            <a:off x="8477282" y="6943090"/>
            <a:ext cx="3694398" cy="6848636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marR="0" indent="0" algn="ctr" defTabSz="1086684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500"/>
            </a:lvl1pPr>
          </a:lstStyle>
          <a:p>
            <a:pPr marL="0" marR="0" lvl="0" indent="0" algn="ctr" defTabSz="1086684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en-US"/>
          </a:p>
        </p:txBody>
      </p:sp>
      <p:sp>
        <p:nvSpPr>
          <p:cNvPr id="21" name="Рисунок 4">
            <a:extLst>
              <a:ext uri="{FF2B5EF4-FFF2-40B4-BE49-F238E27FC236}">
                <a16:creationId xmlns:a16="http://schemas.microsoft.com/office/drawing/2014/main" id="{04E76A11-720B-4143-875B-9856B63830B5}"/>
              </a:ext>
            </a:extLst>
          </p:cNvPr>
          <p:cNvSpPr>
            <a:spLocks noGrp="1"/>
          </p:cNvSpPr>
          <p:nvPr>
            <p:ph type="pic" sz="quarter" idx="90" hasCustomPrompt="1"/>
          </p:nvPr>
        </p:nvSpPr>
        <p:spPr>
          <a:xfrm>
            <a:off x="12215147" y="6943090"/>
            <a:ext cx="3694398" cy="6848636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marR="0" indent="0" algn="ctr" defTabSz="1086684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500"/>
            </a:lvl1pPr>
          </a:lstStyle>
          <a:p>
            <a:pPr marL="0" marR="0" lvl="0" indent="0" algn="ctr" defTabSz="1086684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71636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19" grpId="0"/>
      <p:bldP spid="20" grpId="0"/>
      <p:bldP spid="21" grpId="0"/>
    </p:bld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Row Photo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Рисунок 4"/>
          <p:cNvSpPr>
            <a:spLocks noGrp="1"/>
          </p:cNvSpPr>
          <p:nvPr>
            <p:ph type="pic" sz="quarter" idx="86" hasCustomPrompt="1"/>
          </p:nvPr>
        </p:nvSpPr>
        <p:spPr>
          <a:xfrm>
            <a:off x="2" y="-25398"/>
            <a:ext cx="12192007" cy="4600576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marR="0" indent="0" algn="ctr" defTabSz="1086684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500"/>
            </a:lvl1pPr>
          </a:lstStyle>
          <a:p>
            <a:pPr marL="0" marR="0" lvl="0" indent="0" algn="ctr" defTabSz="1086684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en-US"/>
          </a:p>
        </p:txBody>
      </p:sp>
      <p:sp>
        <p:nvSpPr>
          <p:cNvPr id="29" name="Текст 7"/>
          <p:cNvSpPr>
            <a:spLocks noGrp="1"/>
          </p:cNvSpPr>
          <p:nvPr>
            <p:ph type="body" sz="quarter" idx="42" hasCustomPrompt="1"/>
          </p:nvPr>
        </p:nvSpPr>
        <p:spPr>
          <a:xfrm>
            <a:off x="14472478" y="1422402"/>
            <a:ext cx="8387686" cy="1710844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lnSpc>
                <a:spcPct val="80000"/>
              </a:lnSpc>
              <a:defRPr sz="4798" b="0" baseline="0">
                <a:solidFill>
                  <a:schemeClr val="bg2"/>
                </a:solidFill>
                <a:latin typeface="+mj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NEW ITEMS</a:t>
            </a:r>
          </a:p>
        </p:txBody>
      </p:sp>
      <p:sp>
        <p:nvSpPr>
          <p:cNvPr id="33" name="Текст 7"/>
          <p:cNvSpPr>
            <a:spLocks noGrp="1"/>
          </p:cNvSpPr>
          <p:nvPr>
            <p:ph type="body" sz="quarter" idx="75" hasCustomPrompt="1"/>
          </p:nvPr>
        </p:nvSpPr>
        <p:spPr>
          <a:xfrm>
            <a:off x="14472477" y="5994400"/>
            <a:ext cx="7947182" cy="1710844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lnSpc>
                <a:spcPct val="80000"/>
              </a:lnSpc>
              <a:defRPr sz="4798" b="0" baseline="0">
                <a:solidFill>
                  <a:schemeClr val="accent1"/>
                </a:solidFill>
                <a:latin typeface="+mj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NEW ITEMS</a:t>
            </a:r>
          </a:p>
        </p:txBody>
      </p:sp>
      <p:sp>
        <p:nvSpPr>
          <p:cNvPr id="61" name="Рисунок 4"/>
          <p:cNvSpPr>
            <a:spLocks noGrp="1"/>
          </p:cNvSpPr>
          <p:nvPr>
            <p:ph type="pic" sz="quarter" idx="87" hasCustomPrompt="1"/>
          </p:nvPr>
        </p:nvSpPr>
        <p:spPr>
          <a:xfrm>
            <a:off x="3" y="4603755"/>
            <a:ext cx="12192001" cy="4514846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marR="0" indent="0" algn="ctr" defTabSz="1086684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500"/>
            </a:lvl1pPr>
          </a:lstStyle>
          <a:p>
            <a:pPr marL="0" marR="0" lvl="0" indent="0" algn="ctr" defTabSz="1086684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en-US"/>
          </a:p>
        </p:txBody>
      </p:sp>
      <p:sp>
        <p:nvSpPr>
          <p:cNvPr id="62" name="Рисунок 4"/>
          <p:cNvSpPr>
            <a:spLocks noGrp="1"/>
          </p:cNvSpPr>
          <p:nvPr>
            <p:ph type="pic" sz="quarter" idx="88" hasCustomPrompt="1"/>
          </p:nvPr>
        </p:nvSpPr>
        <p:spPr>
          <a:xfrm>
            <a:off x="2" y="9151555"/>
            <a:ext cx="12192007" cy="4571998"/>
          </a:xfrm>
          <a:prstGeom prst="rect">
            <a:avLst/>
          </a:prstGeom>
          <a:noFill/>
        </p:spPr>
        <p:txBody>
          <a:bodyPr anchor="ctr" anchorCtr="0">
            <a:normAutofit/>
          </a:bodyPr>
          <a:lstStyle>
            <a:lvl1pPr marL="0" marR="0" indent="0" algn="ctr" defTabSz="1086684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500"/>
            </a:lvl1pPr>
          </a:lstStyle>
          <a:p>
            <a:pPr marL="0" marR="0" lvl="0" indent="0" algn="ctr" defTabSz="1086684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id-ID" err="1"/>
              <a:t>Click</a:t>
            </a:r>
            <a:r>
              <a:rPr lang="id-ID"/>
              <a:t> </a:t>
            </a:r>
            <a:r>
              <a:rPr lang="id-ID" err="1"/>
              <a:t>Icon</a:t>
            </a:r>
            <a:r>
              <a:rPr lang="id-ID"/>
              <a:t> </a:t>
            </a:r>
            <a:r>
              <a:rPr lang="id-ID" err="1"/>
              <a:t>to</a:t>
            </a:r>
            <a:r>
              <a:rPr lang="id-ID"/>
              <a:t> </a:t>
            </a:r>
            <a:r>
              <a:rPr lang="id-ID" err="1"/>
              <a:t>Change</a:t>
            </a:r>
            <a:r>
              <a:rPr lang="id-ID"/>
              <a:t> </a:t>
            </a:r>
            <a:r>
              <a:rPr lang="id-ID" err="1"/>
              <a:t>Photo</a:t>
            </a:r>
            <a:endParaRPr lang="id-ID"/>
          </a:p>
          <a:p>
            <a:endParaRPr lang="en-US"/>
          </a:p>
        </p:txBody>
      </p:sp>
      <p:sp>
        <p:nvSpPr>
          <p:cNvPr id="10" name="Текст 7">
            <a:extLst>
              <a:ext uri="{FF2B5EF4-FFF2-40B4-BE49-F238E27FC236}">
                <a16:creationId xmlns:a16="http://schemas.microsoft.com/office/drawing/2014/main" id="{E102A259-5898-8344-85DB-368A545EF8CF}"/>
              </a:ext>
            </a:extLst>
          </p:cNvPr>
          <p:cNvSpPr>
            <a:spLocks noGrp="1"/>
          </p:cNvSpPr>
          <p:nvPr>
            <p:ph type="body" sz="quarter" idx="89" hasCustomPrompt="1"/>
          </p:nvPr>
        </p:nvSpPr>
        <p:spPr>
          <a:xfrm>
            <a:off x="14472478" y="10745306"/>
            <a:ext cx="8387686" cy="1710844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lnSpc>
                <a:spcPct val="80000"/>
              </a:lnSpc>
              <a:defRPr sz="4798" b="0" baseline="0">
                <a:solidFill>
                  <a:schemeClr val="accent3"/>
                </a:solidFill>
                <a:latin typeface="+mj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NEW ITEMS</a:t>
            </a:r>
          </a:p>
        </p:txBody>
      </p:sp>
    </p:spTree>
    <p:extLst>
      <p:ext uri="{BB962C8B-B14F-4D97-AF65-F5344CB8AC3E}">
        <p14:creationId xmlns:p14="http://schemas.microsoft.com/office/powerpoint/2010/main" val="1205726240"/>
      </p:ext>
    </p:extLst>
  </p:cSld>
  <p:clrMapOvr>
    <a:masterClrMapping/>
  </p:clrMapOvr>
  <p:transition spd="slow">
    <p:comb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decel="10000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0" grpId="0"/>
      <p:bldP spid="29" grpId="0">
        <p:tmplLst>
          <p:tmpl>
            <p:tnLst>
              <p:par>
                <p:cTn presetID="2" presetClass="entr" presetSubtype="4" decel="100000" fill="hold" nodeType="withEffect">
                  <p:stCondLst>
                    <p:cond delay="1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2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2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3" grpId="0">
        <p:tmplLst>
          <p:tmpl>
            <p:tnLst>
              <p:par>
                <p:cTn presetID="2" presetClass="entr" presetSubtype="4" decel="100000" fill="hold" nodeType="with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61" grpId="0"/>
      <p:bldP spid="62" grpId="0"/>
      <p:bldP spid="10" grpId="0">
        <p:tmplLst>
          <p:tmpl>
            <p:tnLst>
              <p:par>
                <p:cTn presetID="2" presetClass="entr" presetSubtype="4" decel="100000" fill="hold" nodeType="withEffect">
                  <p:stCondLst>
                    <p:cond delay="1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tep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val 4">
            <a:extLst>
              <a:ext uri="{FF2B5EF4-FFF2-40B4-BE49-F238E27FC236}">
                <a16:creationId xmlns:a16="http://schemas.microsoft.com/office/drawing/2014/main" id="{22780F7E-14BA-8E49-A8BF-D4CF3F8FDBC5}"/>
              </a:ext>
            </a:extLst>
          </p:cNvPr>
          <p:cNvSpPr/>
          <p:nvPr userDrawn="1"/>
        </p:nvSpPr>
        <p:spPr>
          <a:xfrm>
            <a:off x="1342993" y="3365042"/>
            <a:ext cx="5425087" cy="5425088"/>
          </a:xfrm>
          <a:prstGeom prst="ellipse">
            <a:avLst/>
          </a:prstGeom>
          <a:noFill/>
          <a:ln w="88900">
            <a:solidFill>
              <a:srgbClr val="E1E9E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794">
              <a:solidFill>
                <a:schemeClr val="tx1"/>
              </a:solidFill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92FB1EAD-2AB5-AA45-90E7-4B340FEA7E2C}"/>
              </a:ext>
            </a:extLst>
          </p:cNvPr>
          <p:cNvSpPr/>
          <p:nvPr userDrawn="1"/>
        </p:nvSpPr>
        <p:spPr>
          <a:xfrm>
            <a:off x="6768083" y="3365042"/>
            <a:ext cx="5425087" cy="5425088"/>
          </a:xfrm>
          <a:prstGeom prst="ellipse">
            <a:avLst/>
          </a:prstGeom>
          <a:noFill/>
          <a:ln w="88900">
            <a:solidFill>
              <a:srgbClr val="E1E9E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794">
              <a:solidFill>
                <a:schemeClr val="tx1"/>
              </a:solidFill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33D75D7B-C466-B84B-94C2-0CF10FCD8F80}"/>
              </a:ext>
            </a:extLst>
          </p:cNvPr>
          <p:cNvSpPr/>
          <p:nvPr userDrawn="1"/>
        </p:nvSpPr>
        <p:spPr>
          <a:xfrm>
            <a:off x="12190836" y="3365042"/>
            <a:ext cx="5425087" cy="5425088"/>
          </a:xfrm>
          <a:prstGeom prst="ellipse">
            <a:avLst/>
          </a:prstGeom>
          <a:noFill/>
          <a:ln w="88900">
            <a:solidFill>
              <a:srgbClr val="E1E9E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794">
              <a:solidFill>
                <a:schemeClr val="tx1"/>
              </a:solidFill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91A1FE36-0985-7C4B-98B1-FFCCB18E24A5}"/>
              </a:ext>
            </a:extLst>
          </p:cNvPr>
          <p:cNvSpPr/>
          <p:nvPr userDrawn="1"/>
        </p:nvSpPr>
        <p:spPr>
          <a:xfrm>
            <a:off x="17615928" y="3365042"/>
            <a:ext cx="5425087" cy="5425088"/>
          </a:xfrm>
          <a:prstGeom prst="ellipse">
            <a:avLst/>
          </a:prstGeom>
          <a:noFill/>
          <a:ln w="88900">
            <a:solidFill>
              <a:srgbClr val="E1E9EA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794"/>
          </a:p>
        </p:txBody>
      </p:sp>
      <p:sp>
        <p:nvSpPr>
          <p:cNvPr id="9" name="Arc 8">
            <a:extLst>
              <a:ext uri="{FF2B5EF4-FFF2-40B4-BE49-F238E27FC236}">
                <a16:creationId xmlns:a16="http://schemas.microsoft.com/office/drawing/2014/main" id="{18EB5CCF-6D0A-FB4F-9500-5E56D6E98AE1}"/>
              </a:ext>
            </a:extLst>
          </p:cNvPr>
          <p:cNvSpPr/>
          <p:nvPr userDrawn="1"/>
        </p:nvSpPr>
        <p:spPr>
          <a:xfrm>
            <a:off x="1345821" y="3346361"/>
            <a:ext cx="5419427" cy="5419426"/>
          </a:xfrm>
          <a:prstGeom prst="arc">
            <a:avLst>
              <a:gd name="adj1" fmla="val 10766207"/>
              <a:gd name="adj2" fmla="val 0"/>
            </a:avLst>
          </a:prstGeom>
          <a:ln w="8890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4794"/>
          </a:p>
        </p:txBody>
      </p:sp>
      <p:sp>
        <p:nvSpPr>
          <p:cNvPr id="10" name="Arc 9">
            <a:extLst>
              <a:ext uri="{FF2B5EF4-FFF2-40B4-BE49-F238E27FC236}">
                <a16:creationId xmlns:a16="http://schemas.microsoft.com/office/drawing/2014/main" id="{8D09E69B-F3E2-304D-A678-39F1C8A98719}"/>
              </a:ext>
            </a:extLst>
          </p:cNvPr>
          <p:cNvSpPr/>
          <p:nvPr userDrawn="1"/>
        </p:nvSpPr>
        <p:spPr>
          <a:xfrm rot="10800000">
            <a:off x="6770911" y="3389393"/>
            <a:ext cx="5419427" cy="5419426"/>
          </a:xfrm>
          <a:prstGeom prst="arc">
            <a:avLst>
              <a:gd name="adj1" fmla="val 10766207"/>
              <a:gd name="adj2" fmla="val 0"/>
            </a:avLst>
          </a:prstGeom>
          <a:ln w="88900" cap="rnd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4794"/>
          </a:p>
        </p:txBody>
      </p:sp>
      <p:sp>
        <p:nvSpPr>
          <p:cNvPr id="11" name="Arc 10">
            <a:extLst>
              <a:ext uri="{FF2B5EF4-FFF2-40B4-BE49-F238E27FC236}">
                <a16:creationId xmlns:a16="http://schemas.microsoft.com/office/drawing/2014/main" id="{37D1F4E7-0014-6746-AD44-B94638EDBEA9}"/>
              </a:ext>
            </a:extLst>
          </p:cNvPr>
          <p:cNvSpPr/>
          <p:nvPr userDrawn="1"/>
        </p:nvSpPr>
        <p:spPr>
          <a:xfrm>
            <a:off x="12193662" y="3346361"/>
            <a:ext cx="5419427" cy="5419426"/>
          </a:xfrm>
          <a:prstGeom prst="arc">
            <a:avLst>
              <a:gd name="adj1" fmla="val 10766207"/>
              <a:gd name="adj2" fmla="val 0"/>
            </a:avLst>
          </a:prstGeom>
          <a:ln w="8890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4794"/>
          </a:p>
        </p:txBody>
      </p:sp>
      <p:sp>
        <p:nvSpPr>
          <p:cNvPr id="12" name="Arc 11">
            <a:extLst>
              <a:ext uri="{FF2B5EF4-FFF2-40B4-BE49-F238E27FC236}">
                <a16:creationId xmlns:a16="http://schemas.microsoft.com/office/drawing/2014/main" id="{D4B4744D-4168-4E4C-A83C-2E26E17D6BD5}"/>
              </a:ext>
            </a:extLst>
          </p:cNvPr>
          <p:cNvSpPr/>
          <p:nvPr userDrawn="1"/>
        </p:nvSpPr>
        <p:spPr>
          <a:xfrm rot="10800000">
            <a:off x="17618752" y="3389393"/>
            <a:ext cx="5419427" cy="5419426"/>
          </a:xfrm>
          <a:prstGeom prst="arc">
            <a:avLst>
              <a:gd name="adj1" fmla="val 10766207"/>
              <a:gd name="adj2" fmla="val 0"/>
            </a:avLst>
          </a:prstGeom>
          <a:ln w="88900" cap="rnd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4794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1E05944-BC6B-AF4C-B1A6-522E0049645E}"/>
              </a:ext>
            </a:extLst>
          </p:cNvPr>
          <p:cNvSpPr txBox="1"/>
          <p:nvPr userDrawn="1"/>
        </p:nvSpPr>
        <p:spPr>
          <a:xfrm>
            <a:off x="2686418" y="5628889"/>
            <a:ext cx="2738249" cy="9537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5598" b="1">
                <a:solidFill>
                  <a:schemeClr val="bg1"/>
                </a:solidFill>
              </a:rPr>
              <a:t>Step 01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F91CEA4-E78F-5E4A-A0EA-DF5BC9D379C4}"/>
              </a:ext>
            </a:extLst>
          </p:cNvPr>
          <p:cNvSpPr txBox="1"/>
          <p:nvPr userDrawn="1"/>
        </p:nvSpPr>
        <p:spPr>
          <a:xfrm>
            <a:off x="1090858" y="9647288"/>
            <a:ext cx="5674390" cy="13934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3998">
                <a:solidFill>
                  <a:schemeClr val="bg1"/>
                </a:solidFill>
              </a:rPr>
              <a:t>Involve the audience and motivate them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26E816E-AE03-8A4C-9BAB-2728DD64C914}"/>
              </a:ext>
            </a:extLst>
          </p:cNvPr>
          <p:cNvSpPr txBox="1"/>
          <p:nvPr userDrawn="1"/>
        </p:nvSpPr>
        <p:spPr>
          <a:xfrm>
            <a:off x="8111506" y="5628889"/>
            <a:ext cx="2738249" cy="9537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5598" b="1">
                <a:solidFill>
                  <a:schemeClr val="bg1"/>
                </a:solidFill>
              </a:rPr>
              <a:t>Step 02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7D6AE0A-CD66-CF44-AFAA-AA50992AF2C2}"/>
              </a:ext>
            </a:extLst>
          </p:cNvPr>
          <p:cNvSpPr txBox="1"/>
          <p:nvPr userDrawn="1"/>
        </p:nvSpPr>
        <p:spPr>
          <a:xfrm>
            <a:off x="6515947" y="9647288"/>
            <a:ext cx="5674390" cy="13934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3998">
                <a:solidFill>
                  <a:schemeClr val="bg1"/>
                </a:solidFill>
              </a:rPr>
              <a:t>Involve the audience and motivate them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772C1AD-8395-C140-8058-2EE2956849B9}"/>
              </a:ext>
            </a:extLst>
          </p:cNvPr>
          <p:cNvSpPr txBox="1"/>
          <p:nvPr userDrawn="1"/>
        </p:nvSpPr>
        <p:spPr>
          <a:xfrm>
            <a:off x="13534257" y="5628889"/>
            <a:ext cx="2738249" cy="9537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5598" b="1">
                <a:solidFill>
                  <a:schemeClr val="bg1"/>
                </a:solidFill>
              </a:rPr>
              <a:t>Step 03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39D9995-D460-EA40-A0DE-38D420CC1619}"/>
              </a:ext>
            </a:extLst>
          </p:cNvPr>
          <p:cNvSpPr txBox="1"/>
          <p:nvPr userDrawn="1"/>
        </p:nvSpPr>
        <p:spPr>
          <a:xfrm>
            <a:off x="11938699" y="9647288"/>
            <a:ext cx="5674390" cy="13934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3998">
                <a:solidFill>
                  <a:schemeClr val="bg1"/>
                </a:solidFill>
              </a:rPr>
              <a:t>Involve the audience and motivate them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5976319-08C3-794E-91B9-34065101689B}"/>
              </a:ext>
            </a:extLst>
          </p:cNvPr>
          <p:cNvSpPr txBox="1"/>
          <p:nvPr userDrawn="1"/>
        </p:nvSpPr>
        <p:spPr>
          <a:xfrm>
            <a:off x="18959349" y="5628889"/>
            <a:ext cx="2738249" cy="9537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5598" b="1">
                <a:solidFill>
                  <a:schemeClr val="bg1"/>
                </a:solidFill>
              </a:rPr>
              <a:t>Step 04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15A1571-34BA-F941-BF9F-71AE225C4EDF}"/>
              </a:ext>
            </a:extLst>
          </p:cNvPr>
          <p:cNvSpPr txBox="1"/>
          <p:nvPr userDrawn="1"/>
        </p:nvSpPr>
        <p:spPr>
          <a:xfrm>
            <a:off x="17363792" y="9647288"/>
            <a:ext cx="5674390" cy="13934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3998">
                <a:solidFill>
                  <a:schemeClr val="bg1"/>
                </a:solidFill>
              </a:rPr>
              <a:t>Involve the audience and motivate them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BECDF45-EFC1-8C4E-A937-105820B684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6401" y="1220904"/>
            <a:ext cx="21031201" cy="148630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53654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Step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BECDF45-EFC1-8C4E-A937-105820B684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6401" y="10821266"/>
            <a:ext cx="21031201" cy="148630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4270B783-4DF7-FE4D-8E34-A74A81811F13}"/>
              </a:ext>
            </a:extLst>
          </p:cNvPr>
          <p:cNvGrpSpPr/>
          <p:nvPr userDrawn="1"/>
        </p:nvGrpSpPr>
        <p:grpSpPr>
          <a:xfrm>
            <a:off x="15567155" y="5729380"/>
            <a:ext cx="1207008" cy="1207008"/>
            <a:chOff x="4040238" y="1899265"/>
            <a:chExt cx="603504" cy="603504"/>
          </a:xfrm>
        </p:grpSpPr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5CC7CFDA-5097-AC4C-9922-EB8EC3B7355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040238" y="1899265"/>
              <a:ext cx="603504" cy="603504"/>
            </a:xfrm>
            <a:prstGeom prst="ellipse">
              <a:avLst/>
            </a:prstGeom>
            <a:noFill/>
            <a:ln w="114300">
              <a:solidFill>
                <a:schemeClr val="bg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>
                <a:latin typeface="Open Sans Light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87EF06CD-382F-4B4E-B02C-9E8B4EA3D3B3}"/>
                </a:ext>
              </a:extLst>
            </p:cNvPr>
            <p:cNvSpPr txBox="1"/>
            <p:nvPr/>
          </p:nvSpPr>
          <p:spPr>
            <a:xfrm>
              <a:off x="4040238" y="2070212"/>
              <a:ext cx="603504" cy="26161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2800" b="1">
                  <a:solidFill>
                    <a:schemeClr val="bg1"/>
                  </a:solidFill>
                </a:rPr>
                <a:t>04</a:t>
              </a:r>
            </a:p>
          </p:txBody>
        </p:sp>
      </p:grpSp>
      <p:sp>
        <p:nvSpPr>
          <p:cNvPr id="24" name="Line 5">
            <a:extLst>
              <a:ext uri="{FF2B5EF4-FFF2-40B4-BE49-F238E27FC236}">
                <a16:creationId xmlns:a16="http://schemas.microsoft.com/office/drawing/2014/main" id="{6E274D75-7561-684D-AAE5-BA6FAD869952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11804565" y="5"/>
            <a:ext cx="2" cy="6662986"/>
          </a:xfrm>
          <a:prstGeom prst="line">
            <a:avLst/>
          </a:prstGeom>
          <a:noFill/>
          <a:ln w="1143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82784" tIns="91392" rIns="182784" bIns="91392" numCol="1" anchor="t" anchorCtr="0" compatLnSpc="1">
            <a:prstTxWarp prst="textNoShape">
              <a:avLst/>
            </a:prstTxWarp>
          </a:bodyPr>
          <a:lstStyle/>
          <a:p>
            <a:endParaRPr lang="en-US" sz="4794"/>
          </a:p>
        </p:txBody>
      </p:sp>
      <p:sp>
        <p:nvSpPr>
          <p:cNvPr id="25" name="Freeform 6">
            <a:extLst>
              <a:ext uri="{FF2B5EF4-FFF2-40B4-BE49-F238E27FC236}">
                <a16:creationId xmlns:a16="http://schemas.microsoft.com/office/drawing/2014/main" id="{DC9DEA8B-05F5-1945-A9BA-14753C45955D}"/>
              </a:ext>
            </a:extLst>
          </p:cNvPr>
          <p:cNvSpPr>
            <a:spLocks/>
          </p:cNvSpPr>
          <p:nvPr userDrawn="1"/>
        </p:nvSpPr>
        <p:spPr bwMode="auto">
          <a:xfrm>
            <a:off x="7952570" y="0"/>
            <a:ext cx="3460835" cy="6156340"/>
          </a:xfrm>
          <a:custGeom>
            <a:avLst/>
            <a:gdLst>
              <a:gd name="T0" fmla="*/ 929 w 929"/>
              <a:gd name="T1" fmla="*/ 0 h 1388"/>
              <a:gd name="T2" fmla="*/ 929 w 929"/>
              <a:gd name="T3" fmla="*/ 1082 h 1388"/>
              <a:gd name="T4" fmla="*/ 0 w 929"/>
              <a:gd name="T5" fmla="*/ 1388 h 1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929" h="1388">
                <a:moveTo>
                  <a:pt x="929" y="0"/>
                </a:moveTo>
                <a:lnTo>
                  <a:pt x="929" y="1082"/>
                </a:lnTo>
                <a:lnTo>
                  <a:pt x="0" y="1388"/>
                </a:lnTo>
              </a:path>
            </a:pathLst>
          </a:custGeom>
          <a:noFill/>
          <a:ln w="114300" cap="flat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82784" tIns="91392" rIns="182784" bIns="91392" numCol="1" anchor="t" anchorCtr="0" compatLnSpc="1">
            <a:prstTxWarp prst="textNoShape">
              <a:avLst/>
            </a:prstTxWarp>
          </a:bodyPr>
          <a:lstStyle/>
          <a:p>
            <a:endParaRPr lang="en-US" sz="4794"/>
          </a:p>
        </p:txBody>
      </p:sp>
      <p:sp>
        <p:nvSpPr>
          <p:cNvPr id="26" name="Freeform 7">
            <a:extLst>
              <a:ext uri="{FF2B5EF4-FFF2-40B4-BE49-F238E27FC236}">
                <a16:creationId xmlns:a16="http://schemas.microsoft.com/office/drawing/2014/main" id="{D40E9CDA-1ACA-E041-B812-236FD98C20D7}"/>
              </a:ext>
            </a:extLst>
          </p:cNvPr>
          <p:cNvSpPr>
            <a:spLocks/>
          </p:cNvSpPr>
          <p:nvPr userDrawn="1"/>
        </p:nvSpPr>
        <p:spPr bwMode="auto">
          <a:xfrm>
            <a:off x="9248986" y="0"/>
            <a:ext cx="1776987" cy="4237792"/>
          </a:xfrm>
          <a:custGeom>
            <a:avLst/>
            <a:gdLst>
              <a:gd name="T0" fmla="*/ 477 w 477"/>
              <a:gd name="T1" fmla="*/ 0 h 873"/>
              <a:gd name="T2" fmla="*/ 477 w 477"/>
              <a:gd name="T3" fmla="*/ 718 h 873"/>
              <a:gd name="T4" fmla="*/ 0 w 477"/>
              <a:gd name="T5" fmla="*/ 873 h 8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477" h="873">
                <a:moveTo>
                  <a:pt x="477" y="0"/>
                </a:moveTo>
                <a:lnTo>
                  <a:pt x="477" y="718"/>
                </a:lnTo>
                <a:lnTo>
                  <a:pt x="0" y="873"/>
                </a:lnTo>
              </a:path>
            </a:pathLst>
          </a:custGeom>
          <a:noFill/>
          <a:ln w="1143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82784" tIns="91392" rIns="182784" bIns="91392" numCol="1" anchor="t" anchorCtr="0" compatLnSpc="1">
            <a:prstTxWarp prst="textNoShape">
              <a:avLst/>
            </a:prstTxWarp>
          </a:bodyPr>
          <a:lstStyle/>
          <a:p>
            <a:endParaRPr lang="en-US" sz="4794"/>
          </a:p>
        </p:txBody>
      </p:sp>
      <p:sp>
        <p:nvSpPr>
          <p:cNvPr id="27" name="Freeform 8">
            <a:extLst>
              <a:ext uri="{FF2B5EF4-FFF2-40B4-BE49-F238E27FC236}">
                <a16:creationId xmlns:a16="http://schemas.microsoft.com/office/drawing/2014/main" id="{7762AB39-F508-D344-8C2F-AB8FD7A1D5F2}"/>
              </a:ext>
            </a:extLst>
          </p:cNvPr>
          <p:cNvSpPr>
            <a:spLocks/>
          </p:cNvSpPr>
          <p:nvPr userDrawn="1"/>
        </p:nvSpPr>
        <p:spPr bwMode="auto">
          <a:xfrm>
            <a:off x="12192003" y="0"/>
            <a:ext cx="3464562" cy="6156340"/>
          </a:xfrm>
          <a:custGeom>
            <a:avLst/>
            <a:gdLst>
              <a:gd name="T0" fmla="*/ 0 w 930"/>
              <a:gd name="T1" fmla="*/ 0 h 1388"/>
              <a:gd name="T2" fmla="*/ 0 w 930"/>
              <a:gd name="T3" fmla="*/ 1082 h 1388"/>
              <a:gd name="T4" fmla="*/ 930 w 930"/>
              <a:gd name="T5" fmla="*/ 1388 h 1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930" h="1388">
                <a:moveTo>
                  <a:pt x="0" y="0"/>
                </a:moveTo>
                <a:lnTo>
                  <a:pt x="0" y="1082"/>
                </a:lnTo>
                <a:lnTo>
                  <a:pt x="930" y="1388"/>
                </a:lnTo>
              </a:path>
            </a:pathLst>
          </a:custGeom>
          <a:noFill/>
          <a:ln w="114300" cap="flat">
            <a:solidFill>
              <a:schemeClr val="bg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82784" tIns="91392" rIns="182784" bIns="91392" numCol="1" anchor="t" anchorCtr="0" compatLnSpc="1">
            <a:prstTxWarp prst="textNoShape">
              <a:avLst/>
            </a:prstTxWarp>
          </a:bodyPr>
          <a:lstStyle/>
          <a:p>
            <a:endParaRPr lang="en-US" sz="4794"/>
          </a:p>
        </p:txBody>
      </p:sp>
      <p:sp>
        <p:nvSpPr>
          <p:cNvPr id="28" name="Freeform 9">
            <a:extLst>
              <a:ext uri="{FF2B5EF4-FFF2-40B4-BE49-F238E27FC236}">
                <a16:creationId xmlns:a16="http://schemas.microsoft.com/office/drawing/2014/main" id="{9CFD4C92-9127-A049-99CB-792647B43E12}"/>
              </a:ext>
            </a:extLst>
          </p:cNvPr>
          <p:cNvSpPr>
            <a:spLocks/>
          </p:cNvSpPr>
          <p:nvPr userDrawn="1"/>
        </p:nvSpPr>
        <p:spPr bwMode="auto">
          <a:xfrm>
            <a:off x="12583161" y="0"/>
            <a:ext cx="1776987" cy="4237792"/>
          </a:xfrm>
          <a:custGeom>
            <a:avLst/>
            <a:gdLst>
              <a:gd name="T0" fmla="*/ 0 w 477"/>
              <a:gd name="T1" fmla="*/ 0 h 873"/>
              <a:gd name="T2" fmla="*/ 0 w 477"/>
              <a:gd name="T3" fmla="*/ 718 h 873"/>
              <a:gd name="T4" fmla="*/ 477 w 477"/>
              <a:gd name="T5" fmla="*/ 873 h 8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477" h="873">
                <a:moveTo>
                  <a:pt x="0" y="0"/>
                </a:moveTo>
                <a:lnTo>
                  <a:pt x="0" y="718"/>
                </a:lnTo>
                <a:lnTo>
                  <a:pt x="477" y="873"/>
                </a:lnTo>
              </a:path>
            </a:pathLst>
          </a:custGeom>
          <a:noFill/>
          <a:ln w="114300" cap="flat">
            <a:solidFill>
              <a:schemeClr val="tx2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82784" tIns="91392" rIns="182784" bIns="91392" numCol="1" anchor="t" anchorCtr="0" compatLnSpc="1">
            <a:prstTxWarp prst="textNoShape">
              <a:avLst/>
            </a:prstTxWarp>
          </a:bodyPr>
          <a:lstStyle/>
          <a:p>
            <a:endParaRPr lang="en-US" sz="4794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8FADF14-32D5-FE4C-A88F-6D1272AEE35B}"/>
              </a:ext>
            </a:extLst>
          </p:cNvPr>
          <p:cNvSpPr txBox="1"/>
          <p:nvPr userDrawn="1"/>
        </p:nvSpPr>
        <p:spPr>
          <a:xfrm>
            <a:off x="17544395" y="6863199"/>
            <a:ext cx="2268570" cy="8306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798">
                <a:solidFill>
                  <a:schemeClr val="bg1"/>
                </a:solidFill>
              </a:rPr>
              <a:t>Arial 24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6E582CE6-3925-8F4A-831D-0E0B9994CE4C}"/>
              </a:ext>
            </a:extLst>
          </p:cNvPr>
          <p:cNvSpPr txBox="1"/>
          <p:nvPr userDrawn="1"/>
        </p:nvSpPr>
        <p:spPr>
          <a:xfrm>
            <a:off x="3797427" y="6851607"/>
            <a:ext cx="2268633" cy="15690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4798">
                <a:solidFill>
                  <a:schemeClr val="bg1"/>
                </a:solidFill>
              </a:rPr>
              <a:t>Arial 24</a:t>
            </a:r>
          </a:p>
          <a:p>
            <a:pPr algn="r"/>
            <a:endParaRPr lang="en-US" sz="4798">
              <a:solidFill>
                <a:schemeClr val="bg1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A4829DAB-EC0F-9649-B059-D3888AB1651A}"/>
              </a:ext>
            </a:extLst>
          </p:cNvPr>
          <p:cNvSpPr txBox="1"/>
          <p:nvPr userDrawn="1"/>
        </p:nvSpPr>
        <p:spPr>
          <a:xfrm>
            <a:off x="16976311" y="3114959"/>
            <a:ext cx="2268570" cy="8306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798">
                <a:solidFill>
                  <a:schemeClr val="bg1"/>
                </a:solidFill>
              </a:rPr>
              <a:t>Arial 24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A120266D-C9E3-F745-AD6D-12D7266276F5}"/>
              </a:ext>
            </a:extLst>
          </p:cNvPr>
          <p:cNvSpPr txBox="1"/>
          <p:nvPr userDrawn="1"/>
        </p:nvSpPr>
        <p:spPr>
          <a:xfrm>
            <a:off x="4584360" y="3348189"/>
            <a:ext cx="2268570" cy="8306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4798">
                <a:solidFill>
                  <a:schemeClr val="bg1"/>
                </a:solidFill>
              </a:rPr>
              <a:t>Arial 24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84848621-7C07-D34A-BE33-1EF83FAF6400}"/>
              </a:ext>
            </a:extLst>
          </p:cNvPr>
          <p:cNvSpPr txBox="1"/>
          <p:nvPr userDrawn="1"/>
        </p:nvSpPr>
        <p:spPr>
          <a:xfrm>
            <a:off x="10646435" y="8674615"/>
            <a:ext cx="2268570" cy="8306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798">
                <a:solidFill>
                  <a:schemeClr val="bg1"/>
                </a:solidFill>
              </a:rPr>
              <a:t>Arial 24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620E319D-E753-7D4E-98E3-9BF343E8C288}"/>
              </a:ext>
            </a:extLst>
          </p:cNvPr>
          <p:cNvGrpSpPr/>
          <p:nvPr userDrawn="1"/>
        </p:nvGrpSpPr>
        <p:grpSpPr>
          <a:xfrm>
            <a:off x="8006578" y="3748416"/>
            <a:ext cx="1207008" cy="1207008"/>
            <a:chOff x="4040238" y="1899265"/>
            <a:chExt cx="603504" cy="603504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3FE3ABF3-1F22-A049-B5F3-B22584F1B25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040238" y="1899265"/>
              <a:ext cx="603504" cy="603504"/>
            </a:xfrm>
            <a:prstGeom prst="ellipse">
              <a:avLst/>
            </a:prstGeom>
            <a:noFill/>
            <a:ln w="1143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>
                <a:latin typeface="Open Sans Light"/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A7D760A8-68CA-9B4C-9D16-119E376E76AB}"/>
                </a:ext>
              </a:extLst>
            </p:cNvPr>
            <p:cNvSpPr txBox="1"/>
            <p:nvPr/>
          </p:nvSpPr>
          <p:spPr>
            <a:xfrm>
              <a:off x="4040238" y="2070212"/>
              <a:ext cx="603504" cy="26161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2800" b="1">
                  <a:solidFill>
                    <a:schemeClr val="bg1"/>
                  </a:solidFill>
                </a:rPr>
                <a:t>01</a:t>
              </a: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AFF1536A-772B-9C46-8515-1804B11A4C01}"/>
              </a:ext>
            </a:extLst>
          </p:cNvPr>
          <p:cNvGrpSpPr/>
          <p:nvPr userDrawn="1"/>
        </p:nvGrpSpPr>
        <p:grpSpPr>
          <a:xfrm>
            <a:off x="14360147" y="3748416"/>
            <a:ext cx="1207008" cy="1207008"/>
            <a:chOff x="4040238" y="1899265"/>
            <a:chExt cx="603504" cy="603504"/>
          </a:xfrm>
        </p:grpSpPr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EDD558BC-3A52-6846-A716-92F6A446EF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040238" y="1899265"/>
              <a:ext cx="603504" cy="603504"/>
            </a:xfrm>
            <a:prstGeom prst="ellipse">
              <a:avLst/>
            </a:prstGeom>
            <a:noFill/>
            <a:ln w="1143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>
                <a:latin typeface="Open Sans Light"/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6860F66A-9728-1D49-BF2F-01958F68063E}"/>
                </a:ext>
              </a:extLst>
            </p:cNvPr>
            <p:cNvSpPr txBox="1"/>
            <p:nvPr/>
          </p:nvSpPr>
          <p:spPr>
            <a:xfrm>
              <a:off x="4040238" y="2070212"/>
              <a:ext cx="603504" cy="26161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2800" b="1">
                  <a:solidFill>
                    <a:schemeClr val="bg1"/>
                  </a:solidFill>
                </a:rPr>
                <a:t>05</a:t>
              </a: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DB7D0BFE-E1C3-E346-A7F0-CCCA81DDF09A}"/>
              </a:ext>
            </a:extLst>
          </p:cNvPr>
          <p:cNvGrpSpPr/>
          <p:nvPr userDrawn="1"/>
        </p:nvGrpSpPr>
        <p:grpSpPr>
          <a:xfrm>
            <a:off x="6719289" y="5732426"/>
            <a:ext cx="1207008" cy="1207008"/>
            <a:chOff x="4040238" y="1899265"/>
            <a:chExt cx="603504" cy="603504"/>
          </a:xfrm>
        </p:grpSpPr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C48C32FD-81B7-F446-898A-EB03B857209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040238" y="1899265"/>
              <a:ext cx="603504" cy="603504"/>
            </a:xfrm>
            <a:prstGeom prst="ellipse">
              <a:avLst/>
            </a:prstGeom>
            <a:noFill/>
            <a:ln w="114300">
              <a:solidFill>
                <a:schemeClr val="bg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>
                <a:latin typeface="Open Sans Light"/>
              </a:endParaRP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DAE85853-2B7C-134C-AF25-736DD69D88A0}"/>
                </a:ext>
              </a:extLst>
            </p:cNvPr>
            <p:cNvSpPr txBox="1"/>
            <p:nvPr/>
          </p:nvSpPr>
          <p:spPr>
            <a:xfrm>
              <a:off x="4040238" y="2070212"/>
              <a:ext cx="603504" cy="26161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2800" b="1">
                  <a:solidFill>
                    <a:schemeClr val="bg1"/>
                  </a:solidFill>
                </a:rPr>
                <a:t>02</a:t>
              </a: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E4E268FA-2CD9-454F-AD41-89E4EF37A50C}"/>
              </a:ext>
            </a:extLst>
          </p:cNvPr>
          <p:cNvGrpSpPr/>
          <p:nvPr userDrawn="1"/>
        </p:nvGrpSpPr>
        <p:grpSpPr>
          <a:xfrm>
            <a:off x="11201722" y="6721356"/>
            <a:ext cx="1207008" cy="1207008"/>
            <a:chOff x="5600861" y="3360678"/>
            <a:chExt cx="603504" cy="603504"/>
          </a:xfrm>
        </p:grpSpPr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FB78B9EB-3CBF-1C41-BDB3-CBED7172979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600861" y="3360678"/>
              <a:ext cx="603504" cy="603504"/>
            </a:xfrm>
            <a:prstGeom prst="ellipse">
              <a:avLst/>
            </a:prstGeom>
            <a:noFill/>
            <a:ln w="11430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800">
                <a:latin typeface="Open Sans Light"/>
              </a:endParaRP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17404141-F764-2940-B644-CF6B07EBB191}"/>
                </a:ext>
              </a:extLst>
            </p:cNvPr>
            <p:cNvSpPr txBox="1"/>
            <p:nvPr/>
          </p:nvSpPr>
          <p:spPr>
            <a:xfrm>
              <a:off x="5600861" y="3531625"/>
              <a:ext cx="603504" cy="26161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2800" b="1">
                  <a:solidFill>
                    <a:schemeClr val="bg1"/>
                  </a:solidFill>
                </a:rPr>
                <a:t>03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89483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BB6A2E89-D25D-CC4D-8670-915F29B8C960}"/>
              </a:ext>
            </a:extLst>
          </p:cNvPr>
          <p:cNvCxnSpPr/>
          <p:nvPr userDrawn="1"/>
        </p:nvCxnSpPr>
        <p:spPr>
          <a:xfrm flipV="1">
            <a:off x="6879840" y="8761490"/>
            <a:ext cx="0" cy="744568"/>
          </a:xfrm>
          <a:prstGeom prst="line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7" name="Oval 46">
            <a:extLst>
              <a:ext uri="{FF2B5EF4-FFF2-40B4-BE49-F238E27FC236}">
                <a16:creationId xmlns:a16="http://schemas.microsoft.com/office/drawing/2014/main" id="{A270986A-336D-CB4B-9477-803D75BEB89D}"/>
              </a:ext>
            </a:extLst>
          </p:cNvPr>
          <p:cNvSpPr/>
          <p:nvPr userDrawn="1"/>
        </p:nvSpPr>
        <p:spPr>
          <a:xfrm>
            <a:off x="5904138" y="9847539"/>
            <a:ext cx="1951404" cy="1985686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182784" rIns="0" bIns="0" rtlCol="0" anchor="ctr"/>
          <a:lstStyle/>
          <a:p>
            <a:pPr algn="ctr"/>
            <a:endParaRPr lang="id-ID" sz="6396">
              <a:solidFill>
                <a:schemeClr val="bg2"/>
              </a:solidFill>
              <a:latin typeface="Questrial" panose="02000000000000000000" pitchFamily="50" charset="0"/>
            </a:endParaRP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83EBF0DF-9E15-3F42-A4C9-2E63F38D6094}"/>
              </a:ext>
            </a:extLst>
          </p:cNvPr>
          <p:cNvCxnSpPr/>
          <p:nvPr userDrawn="1"/>
        </p:nvCxnSpPr>
        <p:spPr>
          <a:xfrm flipV="1">
            <a:off x="21045599" y="8761490"/>
            <a:ext cx="0" cy="744568"/>
          </a:xfrm>
          <a:prstGeom prst="line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9" name="Oval 48">
            <a:extLst>
              <a:ext uri="{FF2B5EF4-FFF2-40B4-BE49-F238E27FC236}">
                <a16:creationId xmlns:a16="http://schemas.microsoft.com/office/drawing/2014/main" id="{10CE34E2-B7E7-BB40-A9FF-22100238E5A2}"/>
              </a:ext>
            </a:extLst>
          </p:cNvPr>
          <p:cNvSpPr/>
          <p:nvPr userDrawn="1"/>
        </p:nvSpPr>
        <p:spPr>
          <a:xfrm>
            <a:off x="20069897" y="9847539"/>
            <a:ext cx="1951404" cy="1985686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accent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182784" rIns="0" bIns="0" rtlCol="0" anchor="ctr"/>
          <a:lstStyle/>
          <a:p>
            <a:pPr algn="ctr"/>
            <a:endParaRPr lang="id-ID" sz="6396">
              <a:solidFill>
                <a:schemeClr val="bg2"/>
              </a:solidFill>
              <a:latin typeface="Questrial" panose="02000000000000000000" pitchFamily="50" charset="0"/>
            </a:endParaRPr>
          </a:p>
        </p:txBody>
      </p:sp>
      <p:sp>
        <p:nvSpPr>
          <p:cNvPr id="50" name="Chevron 62">
            <a:extLst>
              <a:ext uri="{FF2B5EF4-FFF2-40B4-BE49-F238E27FC236}">
                <a16:creationId xmlns:a16="http://schemas.microsoft.com/office/drawing/2014/main" id="{32EC14E2-9A78-DF4B-B1FC-6A1DDC2139CA}"/>
              </a:ext>
            </a:extLst>
          </p:cNvPr>
          <p:cNvSpPr/>
          <p:nvPr userDrawn="1"/>
        </p:nvSpPr>
        <p:spPr>
          <a:xfrm>
            <a:off x="19320280" y="7615263"/>
            <a:ext cx="3450641" cy="849262"/>
          </a:xfrm>
          <a:prstGeom prst="chevron">
            <a:avLst/>
          </a:prstGeom>
          <a:solidFill>
            <a:schemeClr val="bg2"/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3200">
                <a:solidFill>
                  <a:srgbClr val="FFFFFF"/>
                </a:solidFill>
                <a:latin typeface="+mj-lt"/>
                <a:ea typeface="Questrial" panose="02000000000000000000" pitchFamily="2" charset="0"/>
                <a:cs typeface="Montserrat" panose="02000000000000000000" pitchFamily="2" charset="0"/>
              </a:rPr>
              <a:t>2017</a:t>
            </a:r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E695A626-3EFA-A74E-8FEF-911EB702B0FB}"/>
              </a:ext>
            </a:extLst>
          </p:cNvPr>
          <p:cNvCxnSpPr/>
          <p:nvPr userDrawn="1"/>
        </p:nvCxnSpPr>
        <p:spPr>
          <a:xfrm flipV="1">
            <a:off x="13962718" y="8761490"/>
            <a:ext cx="0" cy="744568"/>
          </a:xfrm>
          <a:prstGeom prst="line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2" name="Oval 51">
            <a:extLst>
              <a:ext uri="{FF2B5EF4-FFF2-40B4-BE49-F238E27FC236}">
                <a16:creationId xmlns:a16="http://schemas.microsoft.com/office/drawing/2014/main" id="{51DFCA96-3CBA-374E-BAE6-D0F2689B7BBD}"/>
              </a:ext>
            </a:extLst>
          </p:cNvPr>
          <p:cNvSpPr/>
          <p:nvPr userDrawn="1"/>
        </p:nvSpPr>
        <p:spPr>
          <a:xfrm>
            <a:off x="12987016" y="9847539"/>
            <a:ext cx="1951404" cy="1985686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182784" rIns="0" bIns="0" rtlCol="0" anchor="ctr"/>
          <a:lstStyle/>
          <a:p>
            <a:pPr algn="ctr"/>
            <a:endParaRPr lang="id-ID" sz="6396">
              <a:solidFill>
                <a:schemeClr val="bg2"/>
              </a:solidFill>
              <a:latin typeface="Questrial" panose="02000000000000000000" pitchFamily="50" charset="0"/>
            </a:endParaRPr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4959900B-E3D6-154A-853E-F8CC65C2BD7F}"/>
              </a:ext>
            </a:extLst>
          </p:cNvPr>
          <p:cNvCxnSpPr/>
          <p:nvPr userDrawn="1"/>
        </p:nvCxnSpPr>
        <p:spPr>
          <a:xfrm flipV="1">
            <a:off x="3338399" y="6570712"/>
            <a:ext cx="0" cy="744568"/>
          </a:xfrm>
          <a:prstGeom prst="line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4" name="Oval 53">
            <a:extLst>
              <a:ext uri="{FF2B5EF4-FFF2-40B4-BE49-F238E27FC236}">
                <a16:creationId xmlns:a16="http://schemas.microsoft.com/office/drawing/2014/main" id="{61708D4F-20B8-3E4D-940A-056EB94EF1E4}"/>
              </a:ext>
            </a:extLst>
          </p:cNvPr>
          <p:cNvSpPr/>
          <p:nvPr userDrawn="1"/>
        </p:nvSpPr>
        <p:spPr>
          <a:xfrm>
            <a:off x="2362697" y="4240545"/>
            <a:ext cx="1951404" cy="1985686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182784" rIns="0" bIns="0" rtlCol="0" anchor="ctr"/>
          <a:lstStyle/>
          <a:p>
            <a:pPr algn="ctr"/>
            <a:endParaRPr lang="id-ID" sz="6396">
              <a:solidFill>
                <a:schemeClr val="bg2"/>
              </a:solidFill>
              <a:latin typeface="Questrial" panose="02000000000000000000" pitchFamily="50" charset="0"/>
            </a:endParaRPr>
          </a:p>
        </p:txBody>
      </p: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719834D4-CA3C-1443-B83C-877AE343E38D}"/>
              </a:ext>
            </a:extLst>
          </p:cNvPr>
          <p:cNvCxnSpPr/>
          <p:nvPr userDrawn="1"/>
        </p:nvCxnSpPr>
        <p:spPr>
          <a:xfrm flipV="1">
            <a:off x="17504158" y="6570712"/>
            <a:ext cx="0" cy="744568"/>
          </a:xfrm>
          <a:prstGeom prst="line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6" name="Oval 55">
            <a:extLst>
              <a:ext uri="{FF2B5EF4-FFF2-40B4-BE49-F238E27FC236}">
                <a16:creationId xmlns:a16="http://schemas.microsoft.com/office/drawing/2014/main" id="{2EFE9854-D393-9340-882F-01A84E08A2ED}"/>
              </a:ext>
            </a:extLst>
          </p:cNvPr>
          <p:cNvSpPr/>
          <p:nvPr userDrawn="1"/>
        </p:nvSpPr>
        <p:spPr>
          <a:xfrm>
            <a:off x="16528456" y="4240545"/>
            <a:ext cx="1951404" cy="1985686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accent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182784" rIns="0" bIns="0" rtlCol="0" anchor="ctr"/>
          <a:lstStyle/>
          <a:p>
            <a:pPr algn="ctr"/>
            <a:endParaRPr lang="id-ID" sz="6396">
              <a:solidFill>
                <a:schemeClr val="bg2"/>
              </a:solidFill>
              <a:latin typeface="Questrial" panose="02000000000000000000" pitchFamily="50" charset="0"/>
            </a:endParaRPr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934A71BE-295C-6A47-B894-3E91A66B7240}"/>
              </a:ext>
            </a:extLst>
          </p:cNvPr>
          <p:cNvCxnSpPr/>
          <p:nvPr userDrawn="1"/>
        </p:nvCxnSpPr>
        <p:spPr>
          <a:xfrm flipV="1">
            <a:off x="10421280" y="6570712"/>
            <a:ext cx="0" cy="744568"/>
          </a:xfrm>
          <a:prstGeom prst="line">
            <a:avLst/>
          </a:prstGeom>
          <a:ln w="12700">
            <a:solidFill>
              <a:schemeClr val="tx1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8" name="Oval 57">
            <a:extLst>
              <a:ext uri="{FF2B5EF4-FFF2-40B4-BE49-F238E27FC236}">
                <a16:creationId xmlns:a16="http://schemas.microsoft.com/office/drawing/2014/main" id="{8756D37D-4BC0-A747-BDC2-56BB04C3F24D}"/>
              </a:ext>
            </a:extLst>
          </p:cNvPr>
          <p:cNvSpPr/>
          <p:nvPr userDrawn="1"/>
        </p:nvSpPr>
        <p:spPr>
          <a:xfrm>
            <a:off x="9445578" y="4240545"/>
            <a:ext cx="1951404" cy="1985686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182784" rIns="0" bIns="0" rtlCol="0" anchor="ctr"/>
          <a:lstStyle/>
          <a:p>
            <a:pPr algn="ctr"/>
            <a:endParaRPr lang="id-ID" sz="6396">
              <a:solidFill>
                <a:schemeClr val="bg2"/>
              </a:solidFill>
              <a:latin typeface="Questrial" panose="02000000000000000000" pitchFamily="50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20359BDE-A876-6E49-8686-6C00BE7739EC}"/>
              </a:ext>
            </a:extLst>
          </p:cNvPr>
          <p:cNvSpPr txBox="1"/>
          <p:nvPr userDrawn="1"/>
        </p:nvSpPr>
        <p:spPr>
          <a:xfrm>
            <a:off x="4584099" y="4895838"/>
            <a:ext cx="2066591" cy="7075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998">
                <a:solidFill>
                  <a:schemeClr val="bg1"/>
                </a:solidFill>
              </a:rPr>
              <a:t>Arial 20 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CCF29958-926C-FE4D-8E13-75E0A0C51770}"/>
              </a:ext>
            </a:extLst>
          </p:cNvPr>
          <p:cNvSpPr txBox="1"/>
          <p:nvPr userDrawn="1"/>
        </p:nvSpPr>
        <p:spPr>
          <a:xfrm>
            <a:off x="11666977" y="4895838"/>
            <a:ext cx="2066591" cy="7075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998">
                <a:solidFill>
                  <a:schemeClr val="bg1"/>
                </a:solidFill>
              </a:rPr>
              <a:t>Arial 20 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232BE33C-7D85-A24D-B420-59D3A9D45F5B}"/>
              </a:ext>
            </a:extLst>
          </p:cNvPr>
          <p:cNvSpPr txBox="1"/>
          <p:nvPr userDrawn="1"/>
        </p:nvSpPr>
        <p:spPr>
          <a:xfrm>
            <a:off x="18749856" y="4895838"/>
            <a:ext cx="2066591" cy="7075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998">
                <a:solidFill>
                  <a:schemeClr val="bg1"/>
                </a:solidFill>
              </a:rPr>
              <a:t>Arial 20 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D9F939A5-6C85-2047-AD6A-634D9B0FBE83}"/>
              </a:ext>
            </a:extLst>
          </p:cNvPr>
          <p:cNvSpPr txBox="1"/>
          <p:nvPr userDrawn="1"/>
        </p:nvSpPr>
        <p:spPr>
          <a:xfrm>
            <a:off x="16474691" y="10513248"/>
            <a:ext cx="2066591" cy="7075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998">
                <a:solidFill>
                  <a:schemeClr val="bg1"/>
                </a:solidFill>
              </a:rPr>
              <a:t>Arial 20 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8CC75A72-6937-4E43-BB48-DB75643ECEFC}"/>
              </a:ext>
            </a:extLst>
          </p:cNvPr>
          <p:cNvSpPr txBox="1"/>
          <p:nvPr userDrawn="1"/>
        </p:nvSpPr>
        <p:spPr>
          <a:xfrm>
            <a:off x="9391813" y="10513248"/>
            <a:ext cx="2066591" cy="7075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998">
                <a:solidFill>
                  <a:schemeClr val="bg1"/>
                </a:solidFill>
              </a:rPr>
              <a:t>Arial 20 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DAD5A797-7CD5-A441-9CBA-216C29F4CAB0}"/>
              </a:ext>
            </a:extLst>
          </p:cNvPr>
          <p:cNvSpPr txBox="1"/>
          <p:nvPr userDrawn="1"/>
        </p:nvSpPr>
        <p:spPr>
          <a:xfrm>
            <a:off x="2308934" y="10513248"/>
            <a:ext cx="2066591" cy="7075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998">
                <a:solidFill>
                  <a:schemeClr val="bg1"/>
                </a:solidFill>
              </a:rPr>
              <a:t>Arial 20 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90B32A09-DBC8-5342-8189-360C42692213}"/>
              </a:ext>
            </a:extLst>
          </p:cNvPr>
          <p:cNvSpPr txBox="1"/>
          <p:nvPr userDrawn="1"/>
        </p:nvSpPr>
        <p:spPr>
          <a:xfrm>
            <a:off x="13662798" y="10178507"/>
            <a:ext cx="599844" cy="10765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6396">
                <a:latin typeface="Flaticon" panose="02000603000000000000" pitchFamily="2" charset="0"/>
              </a:rPr>
              <a:t>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F1164851-8ACA-6749-A277-CBABEB606BEA}"/>
              </a:ext>
            </a:extLst>
          </p:cNvPr>
          <p:cNvSpPr txBox="1"/>
          <p:nvPr userDrawn="1"/>
        </p:nvSpPr>
        <p:spPr>
          <a:xfrm>
            <a:off x="6579921" y="10178507"/>
            <a:ext cx="599844" cy="10765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6396">
                <a:latin typeface="Flaticon" panose="02000603000000000000" pitchFamily="2" charset="0"/>
              </a:rPr>
              <a:t>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AB05D004-6866-6440-8850-03A4040F098C}"/>
              </a:ext>
            </a:extLst>
          </p:cNvPr>
          <p:cNvSpPr txBox="1"/>
          <p:nvPr userDrawn="1"/>
        </p:nvSpPr>
        <p:spPr>
          <a:xfrm>
            <a:off x="3038481" y="4520011"/>
            <a:ext cx="599844" cy="10765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6396">
                <a:latin typeface="Flaticon" panose="02000603000000000000" pitchFamily="2" charset="0"/>
              </a:rPr>
              <a:t>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EA545981-348B-9B4A-A2A3-C676FF8DE27D}"/>
              </a:ext>
            </a:extLst>
          </p:cNvPr>
          <p:cNvSpPr txBox="1"/>
          <p:nvPr userDrawn="1"/>
        </p:nvSpPr>
        <p:spPr>
          <a:xfrm>
            <a:off x="10121361" y="4545763"/>
            <a:ext cx="599844" cy="10765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6396">
                <a:latin typeface="Flaticon" panose="02000603000000000000" pitchFamily="2" charset="0"/>
              </a:rPr>
              <a:t>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3D139755-1508-004C-8037-053A6C1BE544}"/>
              </a:ext>
            </a:extLst>
          </p:cNvPr>
          <p:cNvSpPr txBox="1"/>
          <p:nvPr userDrawn="1"/>
        </p:nvSpPr>
        <p:spPr>
          <a:xfrm>
            <a:off x="17152736" y="4571513"/>
            <a:ext cx="599844" cy="10765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6396">
                <a:latin typeface="Flaticon" panose="02000603000000000000" pitchFamily="2" charset="0"/>
              </a:rPr>
              <a:t>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B122B8FD-F117-1D4A-9E82-96B9D24F5771}"/>
              </a:ext>
            </a:extLst>
          </p:cNvPr>
          <p:cNvSpPr txBox="1"/>
          <p:nvPr userDrawn="1"/>
        </p:nvSpPr>
        <p:spPr>
          <a:xfrm>
            <a:off x="20745678" y="10204259"/>
            <a:ext cx="599844" cy="10765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6396">
                <a:latin typeface="Flaticon" panose="02000603000000000000" pitchFamily="2" charset="0"/>
              </a:rPr>
              <a:t></a:t>
            </a:r>
          </a:p>
        </p:txBody>
      </p:sp>
      <p:sp>
        <p:nvSpPr>
          <p:cNvPr id="71" name="Chevron 53">
            <a:extLst>
              <a:ext uri="{FF2B5EF4-FFF2-40B4-BE49-F238E27FC236}">
                <a16:creationId xmlns:a16="http://schemas.microsoft.com/office/drawing/2014/main" id="{2B12885E-2898-9A47-93BD-37F13986545E}"/>
              </a:ext>
            </a:extLst>
          </p:cNvPr>
          <p:cNvSpPr/>
          <p:nvPr userDrawn="1"/>
        </p:nvSpPr>
        <p:spPr>
          <a:xfrm>
            <a:off x="15778840" y="7615263"/>
            <a:ext cx="3450641" cy="849262"/>
          </a:xfrm>
          <a:prstGeom prst="chevron">
            <a:avLst/>
          </a:prstGeom>
          <a:solidFill>
            <a:schemeClr val="tx2"/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3200">
                <a:solidFill>
                  <a:schemeClr val="tx1"/>
                </a:solidFill>
                <a:latin typeface="+mj-lt"/>
                <a:ea typeface="Questrial" panose="02000000000000000000" pitchFamily="2" charset="0"/>
                <a:cs typeface="Montserrat" panose="02000000000000000000" pitchFamily="2" charset="0"/>
              </a:rPr>
              <a:t>2016</a:t>
            </a:r>
          </a:p>
        </p:txBody>
      </p:sp>
      <p:sp>
        <p:nvSpPr>
          <p:cNvPr id="72" name="Chevron 54">
            <a:extLst>
              <a:ext uri="{FF2B5EF4-FFF2-40B4-BE49-F238E27FC236}">
                <a16:creationId xmlns:a16="http://schemas.microsoft.com/office/drawing/2014/main" id="{6C957690-5510-644B-BF57-EB1FAA22E103}"/>
              </a:ext>
            </a:extLst>
          </p:cNvPr>
          <p:cNvSpPr/>
          <p:nvPr userDrawn="1"/>
        </p:nvSpPr>
        <p:spPr>
          <a:xfrm>
            <a:off x="12237400" y="7615263"/>
            <a:ext cx="3450641" cy="849262"/>
          </a:xfrm>
          <a:prstGeom prst="chevron">
            <a:avLst/>
          </a:prstGeom>
          <a:solidFill>
            <a:schemeClr val="bg2"/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3200">
                <a:solidFill>
                  <a:srgbClr val="FFFFFF"/>
                </a:solidFill>
                <a:latin typeface="+mj-lt"/>
                <a:ea typeface="Questrial" panose="02000000000000000000" pitchFamily="2" charset="0"/>
                <a:cs typeface="Montserrat" panose="02000000000000000000" pitchFamily="2" charset="0"/>
              </a:rPr>
              <a:t>2015</a:t>
            </a:r>
          </a:p>
        </p:txBody>
      </p:sp>
      <p:sp>
        <p:nvSpPr>
          <p:cNvPr id="73" name="Chevron 55">
            <a:extLst>
              <a:ext uri="{FF2B5EF4-FFF2-40B4-BE49-F238E27FC236}">
                <a16:creationId xmlns:a16="http://schemas.microsoft.com/office/drawing/2014/main" id="{ADAEB6FD-D438-FF4C-92F3-EDBE1877FD40}"/>
              </a:ext>
            </a:extLst>
          </p:cNvPr>
          <p:cNvSpPr/>
          <p:nvPr userDrawn="1"/>
        </p:nvSpPr>
        <p:spPr>
          <a:xfrm>
            <a:off x="8695963" y="7615263"/>
            <a:ext cx="3450641" cy="849262"/>
          </a:xfrm>
          <a:prstGeom prst="chevron">
            <a:avLst/>
          </a:prstGeom>
          <a:solidFill>
            <a:schemeClr val="tx2"/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3200">
                <a:solidFill>
                  <a:schemeClr val="tx1"/>
                </a:solidFill>
                <a:latin typeface="+mj-lt"/>
                <a:ea typeface="Questrial" panose="02000000000000000000" pitchFamily="2" charset="0"/>
                <a:cs typeface="Montserrat" panose="02000000000000000000" pitchFamily="2" charset="0"/>
              </a:rPr>
              <a:t>2014</a:t>
            </a:r>
          </a:p>
        </p:txBody>
      </p:sp>
      <p:sp>
        <p:nvSpPr>
          <p:cNvPr id="74" name="Chevron 60">
            <a:extLst>
              <a:ext uri="{FF2B5EF4-FFF2-40B4-BE49-F238E27FC236}">
                <a16:creationId xmlns:a16="http://schemas.microsoft.com/office/drawing/2014/main" id="{3F61A945-660F-314C-B1E6-89522B29A36A}"/>
              </a:ext>
            </a:extLst>
          </p:cNvPr>
          <p:cNvSpPr/>
          <p:nvPr userDrawn="1"/>
        </p:nvSpPr>
        <p:spPr>
          <a:xfrm>
            <a:off x="5154523" y="7615263"/>
            <a:ext cx="3450641" cy="849262"/>
          </a:xfrm>
          <a:prstGeom prst="chevron">
            <a:avLst/>
          </a:prstGeom>
          <a:solidFill>
            <a:schemeClr val="bg2"/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3200">
                <a:solidFill>
                  <a:srgbClr val="FFFFFF"/>
                </a:solidFill>
                <a:latin typeface="+mj-lt"/>
                <a:ea typeface="Questrial" panose="02000000000000000000" pitchFamily="2" charset="0"/>
                <a:cs typeface="Montserrat" panose="02000000000000000000" pitchFamily="2" charset="0"/>
              </a:rPr>
              <a:t>2013</a:t>
            </a:r>
          </a:p>
        </p:txBody>
      </p:sp>
      <p:sp>
        <p:nvSpPr>
          <p:cNvPr id="75" name="Chevron 63">
            <a:extLst>
              <a:ext uri="{FF2B5EF4-FFF2-40B4-BE49-F238E27FC236}">
                <a16:creationId xmlns:a16="http://schemas.microsoft.com/office/drawing/2014/main" id="{6E2F945E-1FC1-D045-8296-EE65492AA9AA}"/>
              </a:ext>
            </a:extLst>
          </p:cNvPr>
          <p:cNvSpPr/>
          <p:nvPr userDrawn="1"/>
        </p:nvSpPr>
        <p:spPr>
          <a:xfrm>
            <a:off x="1613083" y="7615263"/>
            <a:ext cx="3450641" cy="849262"/>
          </a:xfrm>
          <a:prstGeom prst="chevron">
            <a:avLst/>
          </a:prstGeom>
          <a:solidFill>
            <a:schemeClr val="tx2"/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3200">
                <a:solidFill>
                  <a:schemeClr val="tx1"/>
                </a:solidFill>
                <a:latin typeface="+mj-lt"/>
                <a:ea typeface="Questrial" panose="02000000000000000000" pitchFamily="2" charset="0"/>
                <a:cs typeface="Montserrat" panose="02000000000000000000" pitchFamily="2" charset="0"/>
              </a:rPr>
              <a:t>2012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5128571-A04C-F442-9601-007856A4DF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6401" y="1461035"/>
            <a:ext cx="21031201" cy="146156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32319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la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8">
            <a:extLst>
              <a:ext uri="{FF2B5EF4-FFF2-40B4-BE49-F238E27FC236}">
                <a16:creationId xmlns:a16="http://schemas.microsoft.com/office/drawing/2014/main" id="{51259D3F-E530-B242-A99F-DC7E7D3973B7}"/>
              </a:ext>
            </a:extLst>
          </p:cNvPr>
          <p:cNvSpPr/>
          <p:nvPr userDrawn="1"/>
        </p:nvSpPr>
        <p:spPr>
          <a:xfrm>
            <a:off x="-147805" y="-71253"/>
            <a:ext cx="7863840" cy="13882254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0 w 6363516"/>
              <a:gd name="connsiteY0" fmla="*/ 0 h 11229185"/>
              <a:gd name="connsiteX1" fmla="*/ 6363516 w 6363516"/>
              <a:gd name="connsiteY1" fmla="*/ 0 h 11229185"/>
              <a:gd name="connsiteX2" fmla="*/ 3530669 w 6363516"/>
              <a:gd name="connsiteY2" fmla="*/ 11229185 h 11229185"/>
              <a:gd name="connsiteX3" fmla="*/ 0 w 6363516"/>
              <a:gd name="connsiteY3" fmla="*/ 11229185 h 11229185"/>
              <a:gd name="connsiteX4" fmla="*/ 0 w 6363516"/>
              <a:gd name="connsiteY4" fmla="*/ 0 h 11229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63516" h="11229185">
                <a:moveTo>
                  <a:pt x="0" y="0"/>
                </a:moveTo>
                <a:lnTo>
                  <a:pt x="6363516" y="0"/>
                </a:lnTo>
                <a:lnTo>
                  <a:pt x="3530669" y="11229185"/>
                </a:lnTo>
                <a:lnTo>
                  <a:pt x="0" y="11229185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2398"/>
          </a:p>
        </p:txBody>
      </p:sp>
      <p:sp>
        <p:nvSpPr>
          <p:cNvPr id="6" name="Rectangle 39">
            <a:extLst>
              <a:ext uri="{FF2B5EF4-FFF2-40B4-BE49-F238E27FC236}">
                <a16:creationId xmlns:a16="http://schemas.microsoft.com/office/drawing/2014/main" id="{1349D72F-8C7C-4748-873E-C8F9AE4E11E7}"/>
              </a:ext>
            </a:extLst>
          </p:cNvPr>
          <p:cNvSpPr/>
          <p:nvPr userDrawn="1"/>
        </p:nvSpPr>
        <p:spPr>
          <a:xfrm>
            <a:off x="4518551" y="-71251"/>
            <a:ext cx="7734730" cy="13853330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2814917 w 6345586"/>
              <a:gd name="connsiteY0" fmla="*/ 0 h 11247115"/>
              <a:gd name="connsiteX1" fmla="*/ 6345586 w 6345586"/>
              <a:gd name="connsiteY1" fmla="*/ 0 h 11247115"/>
              <a:gd name="connsiteX2" fmla="*/ 6345586 w 6345586"/>
              <a:gd name="connsiteY2" fmla="*/ 11229185 h 11247115"/>
              <a:gd name="connsiteX3" fmla="*/ 0 w 6345586"/>
              <a:gd name="connsiteY3" fmla="*/ 11247115 h 11247115"/>
              <a:gd name="connsiteX4" fmla="*/ 2814917 w 6345586"/>
              <a:gd name="connsiteY4" fmla="*/ 0 h 11247115"/>
              <a:gd name="connsiteX0" fmla="*/ 2814917 w 6345586"/>
              <a:gd name="connsiteY0" fmla="*/ 0 h 11229186"/>
              <a:gd name="connsiteX1" fmla="*/ 6345586 w 6345586"/>
              <a:gd name="connsiteY1" fmla="*/ 0 h 11229186"/>
              <a:gd name="connsiteX2" fmla="*/ 6345586 w 6345586"/>
              <a:gd name="connsiteY2" fmla="*/ 11229185 h 11229186"/>
              <a:gd name="connsiteX3" fmla="*/ 0 w 6345586"/>
              <a:gd name="connsiteY3" fmla="*/ 11229186 h 11229186"/>
              <a:gd name="connsiteX4" fmla="*/ 2814917 w 6345586"/>
              <a:gd name="connsiteY4" fmla="*/ 0 h 11229186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1933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620315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12738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8445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30667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45586" h="11229185">
                <a:moveTo>
                  <a:pt x="2814917" y="0"/>
                </a:moveTo>
                <a:lnTo>
                  <a:pt x="6345586" y="0"/>
                </a:lnTo>
                <a:lnTo>
                  <a:pt x="3530667" y="11229185"/>
                </a:lnTo>
                <a:lnTo>
                  <a:pt x="0" y="11218727"/>
                </a:lnTo>
                <a:lnTo>
                  <a:pt x="2814917" y="0"/>
                </a:lnTo>
                <a:close/>
              </a:path>
            </a:pathLst>
          </a:cu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2398"/>
          </a:p>
        </p:txBody>
      </p:sp>
      <p:sp>
        <p:nvSpPr>
          <p:cNvPr id="7" name="Rectangle 39">
            <a:extLst>
              <a:ext uri="{FF2B5EF4-FFF2-40B4-BE49-F238E27FC236}">
                <a16:creationId xmlns:a16="http://schemas.microsoft.com/office/drawing/2014/main" id="{50C756A6-1DD4-4746-9983-ABD732A9FAA5}"/>
              </a:ext>
            </a:extLst>
          </p:cNvPr>
          <p:cNvSpPr/>
          <p:nvPr userDrawn="1"/>
        </p:nvSpPr>
        <p:spPr>
          <a:xfrm>
            <a:off x="9124020" y="-71252"/>
            <a:ext cx="7734730" cy="13882252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2814917 w 6345586"/>
              <a:gd name="connsiteY0" fmla="*/ 0 h 11247115"/>
              <a:gd name="connsiteX1" fmla="*/ 6345586 w 6345586"/>
              <a:gd name="connsiteY1" fmla="*/ 0 h 11247115"/>
              <a:gd name="connsiteX2" fmla="*/ 6345586 w 6345586"/>
              <a:gd name="connsiteY2" fmla="*/ 11229185 h 11247115"/>
              <a:gd name="connsiteX3" fmla="*/ 0 w 6345586"/>
              <a:gd name="connsiteY3" fmla="*/ 11247115 h 11247115"/>
              <a:gd name="connsiteX4" fmla="*/ 2814917 w 6345586"/>
              <a:gd name="connsiteY4" fmla="*/ 0 h 11247115"/>
              <a:gd name="connsiteX0" fmla="*/ 2814917 w 6345586"/>
              <a:gd name="connsiteY0" fmla="*/ 0 h 11229186"/>
              <a:gd name="connsiteX1" fmla="*/ 6345586 w 6345586"/>
              <a:gd name="connsiteY1" fmla="*/ 0 h 11229186"/>
              <a:gd name="connsiteX2" fmla="*/ 6345586 w 6345586"/>
              <a:gd name="connsiteY2" fmla="*/ 11229185 h 11229186"/>
              <a:gd name="connsiteX3" fmla="*/ 0 w 6345586"/>
              <a:gd name="connsiteY3" fmla="*/ 11229186 h 11229186"/>
              <a:gd name="connsiteX4" fmla="*/ 2814917 w 6345586"/>
              <a:gd name="connsiteY4" fmla="*/ 0 h 11229186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1933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620315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12738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8445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30667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45586" h="11229185">
                <a:moveTo>
                  <a:pt x="2814917" y="0"/>
                </a:moveTo>
                <a:lnTo>
                  <a:pt x="6345586" y="0"/>
                </a:lnTo>
                <a:lnTo>
                  <a:pt x="3530667" y="11229185"/>
                </a:lnTo>
                <a:lnTo>
                  <a:pt x="0" y="11218727"/>
                </a:lnTo>
                <a:lnTo>
                  <a:pt x="2814917" y="0"/>
                </a:lnTo>
                <a:close/>
              </a:path>
            </a:pathLst>
          </a:custGeo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2398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689E7F6-D2EF-6542-8BC8-868976C46C2E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4585797" y="10051483"/>
            <a:ext cx="8705485" cy="1522890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RIAL 40</a:t>
            </a:r>
          </a:p>
        </p:txBody>
      </p:sp>
    </p:spTree>
    <p:extLst>
      <p:ext uri="{BB962C8B-B14F-4D97-AF65-F5344CB8AC3E}">
        <p14:creationId xmlns:p14="http://schemas.microsoft.com/office/powerpoint/2010/main" val="2407399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828804" y="4818125"/>
            <a:ext cx="20726399" cy="1825542"/>
          </a:xfrm>
          <a:prstGeom prst="rect">
            <a:avLst/>
          </a:prstGeom>
        </p:spPr>
        <p:txBody>
          <a:bodyPr/>
          <a:lstStyle>
            <a:lvl1pPr>
              <a:defRPr sz="7998" b="0" i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57601" y="7772400"/>
            <a:ext cx="17068801" cy="35052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lnSpc>
                <a:spcPct val="120000"/>
              </a:lnSpc>
              <a:buNone/>
              <a:defRPr sz="3200" b="0" i="0">
                <a:solidFill>
                  <a:schemeClr val="bg1"/>
                </a:solidFill>
                <a:latin typeface="+mn-lt"/>
              </a:defRPr>
            </a:lvl1pPr>
            <a:lvl2pPr marL="1086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21733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3260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43467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54334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65201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76067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86934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648445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Sla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39">
            <a:extLst>
              <a:ext uri="{FF2B5EF4-FFF2-40B4-BE49-F238E27FC236}">
                <a16:creationId xmlns:a16="http://schemas.microsoft.com/office/drawing/2014/main" id="{F2A6B369-0036-054B-A28F-0FF668A03822}"/>
              </a:ext>
            </a:extLst>
          </p:cNvPr>
          <p:cNvSpPr/>
          <p:nvPr userDrawn="1"/>
        </p:nvSpPr>
        <p:spPr>
          <a:xfrm>
            <a:off x="4316328" y="-71251"/>
            <a:ext cx="7155247" cy="13894130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2814917 w 6345586"/>
              <a:gd name="connsiteY0" fmla="*/ 0 h 11247115"/>
              <a:gd name="connsiteX1" fmla="*/ 6345586 w 6345586"/>
              <a:gd name="connsiteY1" fmla="*/ 0 h 11247115"/>
              <a:gd name="connsiteX2" fmla="*/ 6345586 w 6345586"/>
              <a:gd name="connsiteY2" fmla="*/ 11229185 h 11247115"/>
              <a:gd name="connsiteX3" fmla="*/ 0 w 6345586"/>
              <a:gd name="connsiteY3" fmla="*/ 11247115 h 11247115"/>
              <a:gd name="connsiteX4" fmla="*/ 2814917 w 6345586"/>
              <a:gd name="connsiteY4" fmla="*/ 0 h 11247115"/>
              <a:gd name="connsiteX0" fmla="*/ 2814917 w 6345586"/>
              <a:gd name="connsiteY0" fmla="*/ 0 h 11229186"/>
              <a:gd name="connsiteX1" fmla="*/ 6345586 w 6345586"/>
              <a:gd name="connsiteY1" fmla="*/ 0 h 11229186"/>
              <a:gd name="connsiteX2" fmla="*/ 6345586 w 6345586"/>
              <a:gd name="connsiteY2" fmla="*/ 11229185 h 11229186"/>
              <a:gd name="connsiteX3" fmla="*/ 0 w 6345586"/>
              <a:gd name="connsiteY3" fmla="*/ 11229186 h 11229186"/>
              <a:gd name="connsiteX4" fmla="*/ 2814917 w 6345586"/>
              <a:gd name="connsiteY4" fmla="*/ 0 h 11229186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1933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620315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12738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8445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30667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45586" h="11229185">
                <a:moveTo>
                  <a:pt x="2814917" y="0"/>
                </a:moveTo>
                <a:lnTo>
                  <a:pt x="6345586" y="0"/>
                </a:lnTo>
                <a:lnTo>
                  <a:pt x="3530667" y="11229185"/>
                </a:lnTo>
                <a:lnTo>
                  <a:pt x="0" y="11218727"/>
                </a:lnTo>
                <a:lnTo>
                  <a:pt x="2814917" y="0"/>
                </a:lnTo>
                <a:close/>
              </a:path>
            </a:pathLst>
          </a:cu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2398"/>
          </a:p>
        </p:txBody>
      </p:sp>
      <p:sp>
        <p:nvSpPr>
          <p:cNvPr id="9" name="Rectangle 39">
            <a:extLst>
              <a:ext uri="{FF2B5EF4-FFF2-40B4-BE49-F238E27FC236}">
                <a16:creationId xmlns:a16="http://schemas.microsoft.com/office/drawing/2014/main" id="{57D737B4-B5B2-DF4C-AE4A-C68397194982}"/>
              </a:ext>
            </a:extLst>
          </p:cNvPr>
          <p:cNvSpPr/>
          <p:nvPr userDrawn="1"/>
        </p:nvSpPr>
        <p:spPr>
          <a:xfrm>
            <a:off x="8523034" y="-71251"/>
            <a:ext cx="7155247" cy="13894130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2814917 w 6345586"/>
              <a:gd name="connsiteY0" fmla="*/ 0 h 11247115"/>
              <a:gd name="connsiteX1" fmla="*/ 6345586 w 6345586"/>
              <a:gd name="connsiteY1" fmla="*/ 0 h 11247115"/>
              <a:gd name="connsiteX2" fmla="*/ 6345586 w 6345586"/>
              <a:gd name="connsiteY2" fmla="*/ 11229185 h 11247115"/>
              <a:gd name="connsiteX3" fmla="*/ 0 w 6345586"/>
              <a:gd name="connsiteY3" fmla="*/ 11247115 h 11247115"/>
              <a:gd name="connsiteX4" fmla="*/ 2814917 w 6345586"/>
              <a:gd name="connsiteY4" fmla="*/ 0 h 11247115"/>
              <a:gd name="connsiteX0" fmla="*/ 2814917 w 6345586"/>
              <a:gd name="connsiteY0" fmla="*/ 0 h 11229186"/>
              <a:gd name="connsiteX1" fmla="*/ 6345586 w 6345586"/>
              <a:gd name="connsiteY1" fmla="*/ 0 h 11229186"/>
              <a:gd name="connsiteX2" fmla="*/ 6345586 w 6345586"/>
              <a:gd name="connsiteY2" fmla="*/ 11229185 h 11229186"/>
              <a:gd name="connsiteX3" fmla="*/ 0 w 6345586"/>
              <a:gd name="connsiteY3" fmla="*/ 11229186 h 11229186"/>
              <a:gd name="connsiteX4" fmla="*/ 2814917 w 6345586"/>
              <a:gd name="connsiteY4" fmla="*/ 0 h 11229186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1933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620315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12738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8445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30667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45586" h="11229185">
                <a:moveTo>
                  <a:pt x="2814917" y="0"/>
                </a:moveTo>
                <a:lnTo>
                  <a:pt x="6345586" y="0"/>
                </a:lnTo>
                <a:lnTo>
                  <a:pt x="3530667" y="11229185"/>
                </a:lnTo>
                <a:lnTo>
                  <a:pt x="0" y="11218727"/>
                </a:lnTo>
                <a:lnTo>
                  <a:pt x="2814917" y="0"/>
                </a:lnTo>
                <a:close/>
              </a:path>
            </a:pathLst>
          </a:cu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2398"/>
          </a:p>
        </p:txBody>
      </p:sp>
      <p:sp>
        <p:nvSpPr>
          <p:cNvPr id="10" name="Rectangle 39">
            <a:extLst>
              <a:ext uri="{FF2B5EF4-FFF2-40B4-BE49-F238E27FC236}">
                <a16:creationId xmlns:a16="http://schemas.microsoft.com/office/drawing/2014/main" id="{4237138A-00E4-EE4C-BCEC-489B99C24C44}"/>
              </a:ext>
            </a:extLst>
          </p:cNvPr>
          <p:cNvSpPr/>
          <p:nvPr userDrawn="1"/>
        </p:nvSpPr>
        <p:spPr>
          <a:xfrm>
            <a:off x="12753121" y="-71251"/>
            <a:ext cx="7012142" cy="13894130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2814917 w 6345586"/>
              <a:gd name="connsiteY0" fmla="*/ 0 h 11247115"/>
              <a:gd name="connsiteX1" fmla="*/ 6345586 w 6345586"/>
              <a:gd name="connsiteY1" fmla="*/ 0 h 11247115"/>
              <a:gd name="connsiteX2" fmla="*/ 6345586 w 6345586"/>
              <a:gd name="connsiteY2" fmla="*/ 11229185 h 11247115"/>
              <a:gd name="connsiteX3" fmla="*/ 0 w 6345586"/>
              <a:gd name="connsiteY3" fmla="*/ 11247115 h 11247115"/>
              <a:gd name="connsiteX4" fmla="*/ 2814917 w 6345586"/>
              <a:gd name="connsiteY4" fmla="*/ 0 h 11247115"/>
              <a:gd name="connsiteX0" fmla="*/ 2814917 w 6345586"/>
              <a:gd name="connsiteY0" fmla="*/ 0 h 11229186"/>
              <a:gd name="connsiteX1" fmla="*/ 6345586 w 6345586"/>
              <a:gd name="connsiteY1" fmla="*/ 0 h 11229186"/>
              <a:gd name="connsiteX2" fmla="*/ 6345586 w 6345586"/>
              <a:gd name="connsiteY2" fmla="*/ 11229185 h 11229186"/>
              <a:gd name="connsiteX3" fmla="*/ 0 w 6345586"/>
              <a:gd name="connsiteY3" fmla="*/ 11229186 h 11229186"/>
              <a:gd name="connsiteX4" fmla="*/ 2814917 w 6345586"/>
              <a:gd name="connsiteY4" fmla="*/ 0 h 11229186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1933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620315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12738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8445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30667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45586" h="11229185">
                <a:moveTo>
                  <a:pt x="2814917" y="0"/>
                </a:moveTo>
                <a:lnTo>
                  <a:pt x="6345586" y="0"/>
                </a:lnTo>
                <a:lnTo>
                  <a:pt x="3530667" y="11229185"/>
                </a:lnTo>
                <a:lnTo>
                  <a:pt x="0" y="11218727"/>
                </a:lnTo>
                <a:lnTo>
                  <a:pt x="2814917" y="0"/>
                </a:lnTo>
                <a:close/>
              </a:path>
            </a:pathLst>
          </a:custGeom>
          <a:blipFill dpi="0"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2398"/>
          </a:p>
        </p:txBody>
      </p:sp>
      <p:sp>
        <p:nvSpPr>
          <p:cNvPr id="11" name="Rectangle 39">
            <a:extLst>
              <a:ext uri="{FF2B5EF4-FFF2-40B4-BE49-F238E27FC236}">
                <a16:creationId xmlns:a16="http://schemas.microsoft.com/office/drawing/2014/main" id="{F7E24681-28F3-AA40-A591-D0E90A59B49F}"/>
              </a:ext>
            </a:extLst>
          </p:cNvPr>
          <p:cNvSpPr/>
          <p:nvPr userDrawn="1"/>
        </p:nvSpPr>
        <p:spPr>
          <a:xfrm>
            <a:off x="16916239" y="-71252"/>
            <a:ext cx="7559589" cy="13881192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2814917 w 6345586"/>
              <a:gd name="connsiteY0" fmla="*/ 0 h 11247115"/>
              <a:gd name="connsiteX1" fmla="*/ 6345586 w 6345586"/>
              <a:gd name="connsiteY1" fmla="*/ 0 h 11247115"/>
              <a:gd name="connsiteX2" fmla="*/ 6345586 w 6345586"/>
              <a:gd name="connsiteY2" fmla="*/ 11229185 h 11247115"/>
              <a:gd name="connsiteX3" fmla="*/ 0 w 6345586"/>
              <a:gd name="connsiteY3" fmla="*/ 11247115 h 11247115"/>
              <a:gd name="connsiteX4" fmla="*/ 2814917 w 6345586"/>
              <a:gd name="connsiteY4" fmla="*/ 0 h 11247115"/>
              <a:gd name="connsiteX0" fmla="*/ 2814917 w 6345586"/>
              <a:gd name="connsiteY0" fmla="*/ 0 h 11229186"/>
              <a:gd name="connsiteX1" fmla="*/ 6345586 w 6345586"/>
              <a:gd name="connsiteY1" fmla="*/ 0 h 11229186"/>
              <a:gd name="connsiteX2" fmla="*/ 6345586 w 6345586"/>
              <a:gd name="connsiteY2" fmla="*/ 11229185 h 11229186"/>
              <a:gd name="connsiteX3" fmla="*/ 0 w 6345586"/>
              <a:gd name="connsiteY3" fmla="*/ 11229186 h 11229186"/>
              <a:gd name="connsiteX4" fmla="*/ 2814917 w 6345586"/>
              <a:gd name="connsiteY4" fmla="*/ 0 h 11229186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1933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620315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12738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8445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30667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560737"/>
              <a:gd name="connsiteY0" fmla="*/ 0 h 11218727"/>
              <a:gd name="connsiteX1" fmla="*/ 6345586 w 6560737"/>
              <a:gd name="connsiteY1" fmla="*/ 0 h 11218727"/>
              <a:gd name="connsiteX2" fmla="*/ 6560737 w 6560737"/>
              <a:gd name="connsiteY2" fmla="*/ 11211255 h 11218727"/>
              <a:gd name="connsiteX3" fmla="*/ 0 w 6560737"/>
              <a:gd name="connsiteY3" fmla="*/ 11218727 h 11218727"/>
              <a:gd name="connsiteX4" fmla="*/ 2814917 w 6560737"/>
              <a:gd name="connsiteY4" fmla="*/ 0 h 11218727"/>
              <a:gd name="connsiteX0" fmla="*/ 2814917 w 6560737"/>
              <a:gd name="connsiteY0" fmla="*/ 0 h 11218727"/>
              <a:gd name="connsiteX1" fmla="*/ 6345586 w 6560737"/>
              <a:gd name="connsiteY1" fmla="*/ 0 h 11218727"/>
              <a:gd name="connsiteX2" fmla="*/ 6560737 w 6560737"/>
              <a:gd name="connsiteY2" fmla="*/ 11211255 h 11218727"/>
              <a:gd name="connsiteX3" fmla="*/ 0 w 6560737"/>
              <a:gd name="connsiteY3" fmla="*/ 11218727 h 11218727"/>
              <a:gd name="connsiteX4" fmla="*/ 2814917 w 6560737"/>
              <a:gd name="connsiteY4" fmla="*/ 0 h 11218727"/>
              <a:gd name="connsiteX0" fmla="*/ 2814917 w 6632456"/>
              <a:gd name="connsiteY0" fmla="*/ 0 h 11218727"/>
              <a:gd name="connsiteX1" fmla="*/ 6632456 w 6632456"/>
              <a:gd name="connsiteY1" fmla="*/ 17930 h 11218727"/>
              <a:gd name="connsiteX2" fmla="*/ 6560737 w 6632456"/>
              <a:gd name="connsiteY2" fmla="*/ 11211255 h 11218727"/>
              <a:gd name="connsiteX3" fmla="*/ 0 w 6632456"/>
              <a:gd name="connsiteY3" fmla="*/ 11218727 h 11218727"/>
              <a:gd name="connsiteX4" fmla="*/ 2814917 w 6632456"/>
              <a:gd name="connsiteY4" fmla="*/ 0 h 11218727"/>
              <a:gd name="connsiteX0" fmla="*/ 2814917 w 6596597"/>
              <a:gd name="connsiteY0" fmla="*/ 0 h 11218727"/>
              <a:gd name="connsiteX1" fmla="*/ 6596597 w 6596597"/>
              <a:gd name="connsiteY1" fmla="*/ 17930 h 11218727"/>
              <a:gd name="connsiteX2" fmla="*/ 6560737 w 6596597"/>
              <a:gd name="connsiteY2" fmla="*/ 11211255 h 11218727"/>
              <a:gd name="connsiteX3" fmla="*/ 0 w 6596597"/>
              <a:gd name="connsiteY3" fmla="*/ 11218727 h 11218727"/>
              <a:gd name="connsiteX4" fmla="*/ 2814917 w 6596597"/>
              <a:gd name="connsiteY4" fmla="*/ 0 h 11218727"/>
              <a:gd name="connsiteX0" fmla="*/ 2814917 w 6650386"/>
              <a:gd name="connsiteY0" fmla="*/ 0 h 11218727"/>
              <a:gd name="connsiteX1" fmla="*/ 6650386 w 6650386"/>
              <a:gd name="connsiteY1" fmla="*/ 17930 h 11218727"/>
              <a:gd name="connsiteX2" fmla="*/ 6560737 w 6650386"/>
              <a:gd name="connsiteY2" fmla="*/ 11211255 h 11218727"/>
              <a:gd name="connsiteX3" fmla="*/ 0 w 6650386"/>
              <a:gd name="connsiteY3" fmla="*/ 11218727 h 11218727"/>
              <a:gd name="connsiteX4" fmla="*/ 2814917 w 6650386"/>
              <a:gd name="connsiteY4" fmla="*/ 0 h 11218727"/>
              <a:gd name="connsiteX0" fmla="*/ 2814917 w 6650386"/>
              <a:gd name="connsiteY0" fmla="*/ 0 h 11218727"/>
              <a:gd name="connsiteX1" fmla="*/ 6650386 w 6650386"/>
              <a:gd name="connsiteY1" fmla="*/ 17930 h 11218727"/>
              <a:gd name="connsiteX2" fmla="*/ 6650385 w 6650386"/>
              <a:gd name="connsiteY2" fmla="*/ 11211255 h 11218727"/>
              <a:gd name="connsiteX3" fmla="*/ 0 w 6650386"/>
              <a:gd name="connsiteY3" fmla="*/ 11218727 h 11218727"/>
              <a:gd name="connsiteX4" fmla="*/ 2814917 w 6650386"/>
              <a:gd name="connsiteY4" fmla="*/ 0 h 11218727"/>
              <a:gd name="connsiteX0" fmla="*/ 2814917 w 6650386"/>
              <a:gd name="connsiteY0" fmla="*/ 0 h 11218727"/>
              <a:gd name="connsiteX1" fmla="*/ 6650386 w 6650386"/>
              <a:gd name="connsiteY1" fmla="*/ 17930 h 11218727"/>
              <a:gd name="connsiteX2" fmla="*/ 6650385 w 6650386"/>
              <a:gd name="connsiteY2" fmla="*/ 11193325 h 11218727"/>
              <a:gd name="connsiteX3" fmla="*/ 0 w 6650386"/>
              <a:gd name="connsiteY3" fmla="*/ 11218727 h 11218727"/>
              <a:gd name="connsiteX4" fmla="*/ 2814917 w 6650386"/>
              <a:gd name="connsiteY4" fmla="*/ 0 h 11218727"/>
              <a:gd name="connsiteX0" fmla="*/ 2814917 w 6704174"/>
              <a:gd name="connsiteY0" fmla="*/ 0 h 11218727"/>
              <a:gd name="connsiteX1" fmla="*/ 6704174 w 6704174"/>
              <a:gd name="connsiteY1" fmla="*/ 17930 h 11218727"/>
              <a:gd name="connsiteX2" fmla="*/ 6650385 w 6704174"/>
              <a:gd name="connsiteY2" fmla="*/ 11193325 h 11218727"/>
              <a:gd name="connsiteX3" fmla="*/ 0 w 6704174"/>
              <a:gd name="connsiteY3" fmla="*/ 11218727 h 11218727"/>
              <a:gd name="connsiteX4" fmla="*/ 2814917 w 6704174"/>
              <a:gd name="connsiteY4" fmla="*/ 0 h 11218727"/>
              <a:gd name="connsiteX0" fmla="*/ 2814917 w 6650386"/>
              <a:gd name="connsiteY0" fmla="*/ 0 h 11218727"/>
              <a:gd name="connsiteX1" fmla="*/ 6650386 w 6650386"/>
              <a:gd name="connsiteY1" fmla="*/ 17930 h 11218727"/>
              <a:gd name="connsiteX2" fmla="*/ 6650385 w 6650386"/>
              <a:gd name="connsiteY2" fmla="*/ 11193325 h 11218727"/>
              <a:gd name="connsiteX3" fmla="*/ 0 w 6650386"/>
              <a:gd name="connsiteY3" fmla="*/ 11218727 h 11218727"/>
              <a:gd name="connsiteX4" fmla="*/ 2814917 w 6650386"/>
              <a:gd name="connsiteY4" fmla="*/ 0 h 11218727"/>
              <a:gd name="connsiteX0" fmla="*/ 2814917 w 6704174"/>
              <a:gd name="connsiteY0" fmla="*/ 0 h 11218727"/>
              <a:gd name="connsiteX1" fmla="*/ 6704174 w 6704174"/>
              <a:gd name="connsiteY1" fmla="*/ 17930 h 11218727"/>
              <a:gd name="connsiteX2" fmla="*/ 6650385 w 6704174"/>
              <a:gd name="connsiteY2" fmla="*/ 11193325 h 11218727"/>
              <a:gd name="connsiteX3" fmla="*/ 0 w 6704174"/>
              <a:gd name="connsiteY3" fmla="*/ 11218727 h 11218727"/>
              <a:gd name="connsiteX4" fmla="*/ 2814917 w 6704174"/>
              <a:gd name="connsiteY4" fmla="*/ 0 h 11218727"/>
              <a:gd name="connsiteX0" fmla="*/ 2814917 w 6704174"/>
              <a:gd name="connsiteY0" fmla="*/ 0 h 11218727"/>
              <a:gd name="connsiteX1" fmla="*/ 6704174 w 6704174"/>
              <a:gd name="connsiteY1" fmla="*/ 17930 h 11218727"/>
              <a:gd name="connsiteX2" fmla="*/ 6704173 w 6704174"/>
              <a:gd name="connsiteY2" fmla="*/ 11211254 h 11218727"/>
              <a:gd name="connsiteX3" fmla="*/ 0 w 6704174"/>
              <a:gd name="connsiteY3" fmla="*/ 11218727 h 11218727"/>
              <a:gd name="connsiteX4" fmla="*/ 2814917 w 6704174"/>
              <a:gd name="connsiteY4" fmla="*/ 0 h 11218727"/>
              <a:gd name="connsiteX0" fmla="*/ 2814917 w 6704174"/>
              <a:gd name="connsiteY0" fmla="*/ 0 h 11218727"/>
              <a:gd name="connsiteX1" fmla="*/ 6704174 w 6704174"/>
              <a:gd name="connsiteY1" fmla="*/ 17930 h 11218727"/>
              <a:gd name="connsiteX2" fmla="*/ 6704173 w 6704174"/>
              <a:gd name="connsiteY2" fmla="*/ 11211254 h 11218727"/>
              <a:gd name="connsiteX3" fmla="*/ 0 w 6704174"/>
              <a:gd name="connsiteY3" fmla="*/ 11218727 h 11218727"/>
              <a:gd name="connsiteX4" fmla="*/ 2814917 w 6704174"/>
              <a:gd name="connsiteY4" fmla="*/ 0 h 11218727"/>
              <a:gd name="connsiteX0" fmla="*/ 2814917 w 6704174"/>
              <a:gd name="connsiteY0" fmla="*/ 0 h 11218727"/>
              <a:gd name="connsiteX1" fmla="*/ 6704174 w 6704174"/>
              <a:gd name="connsiteY1" fmla="*/ 17930 h 11218727"/>
              <a:gd name="connsiteX2" fmla="*/ 6704173 w 6704174"/>
              <a:gd name="connsiteY2" fmla="*/ 11175395 h 11218727"/>
              <a:gd name="connsiteX3" fmla="*/ 0 w 6704174"/>
              <a:gd name="connsiteY3" fmla="*/ 11218727 h 11218727"/>
              <a:gd name="connsiteX4" fmla="*/ 2814917 w 6704174"/>
              <a:gd name="connsiteY4" fmla="*/ 0 h 11218727"/>
              <a:gd name="connsiteX0" fmla="*/ 2814917 w 6704174"/>
              <a:gd name="connsiteY0" fmla="*/ 0 h 11218727"/>
              <a:gd name="connsiteX1" fmla="*/ 6704174 w 6704174"/>
              <a:gd name="connsiteY1" fmla="*/ 17930 h 11218727"/>
              <a:gd name="connsiteX2" fmla="*/ 6704173 w 6704174"/>
              <a:gd name="connsiteY2" fmla="*/ 11193325 h 11218727"/>
              <a:gd name="connsiteX3" fmla="*/ 0 w 6704174"/>
              <a:gd name="connsiteY3" fmla="*/ 11218727 h 11218727"/>
              <a:gd name="connsiteX4" fmla="*/ 2814917 w 6704174"/>
              <a:gd name="connsiteY4" fmla="*/ 0 h 112187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04174" h="11218727">
                <a:moveTo>
                  <a:pt x="2814917" y="0"/>
                </a:moveTo>
                <a:lnTo>
                  <a:pt x="6704174" y="17930"/>
                </a:lnTo>
                <a:cubicBezTo>
                  <a:pt x="6704174" y="3749038"/>
                  <a:pt x="6704173" y="7462217"/>
                  <a:pt x="6704173" y="11193325"/>
                </a:cubicBezTo>
                <a:lnTo>
                  <a:pt x="0" y="11218727"/>
                </a:lnTo>
                <a:lnTo>
                  <a:pt x="2814917" y="0"/>
                </a:lnTo>
                <a:close/>
              </a:path>
            </a:pathLst>
          </a:custGeom>
          <a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2398"/>
          </a:p>
        </p:txBody>
      </p:sp>
      <p:sp>
        <p:nvSpPr>
          <p:cNvPr id="12" name="Rectangle 39">
            <a:extLst>
              <a:ext uri="{FF2B5EF4-FFF2-40B4-BE49-F238E27FC236}">
                <a16:creationId xmlns:a16="http://schemas.microsoft.com/office/drawing/2014/main" id="{2AE0D405-C033-F047-A3BF-11BB174DBAE4}"/>
              </a:ext>
            </a:extLst>
          </p:cNvPr>
          <p:cNvSpPr/>
          <p:nvPr userDrawn="1"/>
        </p:nvSpPr>
        <p:spPr>
          <a:xfrm>
            <a:off x="-142505" y="-71251"/>
            <a:ext cx="7387424" cy="13894130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2814917 w 6345586"/>
              <a:gd name="connsiteY0" fmla="*/ 0 h 11247115"/>
              <a:gd name="connsiteX1" fmla="*/ 6345586 w 6345586"/>
              <a:gd name="connsiteY1" fmla="*/ 0 h 11247115"/>
              <a:gd name="connsiteX2" fmla="*/ 6345586 w 6345586"/>
              <a:gd name="connsiteY2" fmla="*/ 11229185 h 11247115"/>
              <a:gd name="connsiteX3" fmla="*/ 0 w 6345586"/>
              <a:gd name="connsiteY3" fmla="*/ 11247115 h 11247115"/>
              <a:gd name="connsiteX4" fmla="*/ 2814917 w 6345586"/>
              <a:gd name="connsiteY4" fmla="*/ 0 h 11247115"/>
              <a:gd name="connsiteX0" fmla="*/ 2814917 w 6345586"/>
              <a:gd name="connsiteY0" fmla="*/ 0 h 11229186"/>
              <a:gd name="connsiteX1" fmla="*/ 6345586 w 6345586"/>
              <a:gd name="connsiteY1" fmla="*/ 0 h 11229186"/>
              <a:gd name="connsiteX2" fmla="*/ 6345586 w 6345586"/>
              <a:gd name="connsiteY2" fmla="*/ 11229185 h 11229186"/>
              <a:gd name="connsiteX3" fmla="*/ 0 w 6345586"/>
              <a:gd name="connsiteY3" fmla="*/ 11229186 h 11229186"/>
              <a:gd name="connsiteX4" fmla="*/ 2814917 w 6345586"/>
              <a:gd name="connsiteY4" fmla="*/ 0 h 11229186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1933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620315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12738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8445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30667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0 w 6668316"/>
              <a:gd name="connsiteY0" fmla="*/ 71718 h 11229185"/>
              <a:gd name="connsiteX1" fmla="*/ 6668316 w 6668316"/>
              <a:gd name="connsiteY1" fmla="*/ 0 h 11229185"/>
              <a:gd name="connsiteX2" fmla="*/ 3853397 w 6668316"/>
              <a:gd name="connsiteY2" fmla="*/ 11229185 h 11229185"/>
              <a:gd name="connsiteX3" fmla="*/ 322730 w 6668316"/>
              <a:gd name="connsiteY3" fmla="*/ 11218727 h 11229185"/>
              <a:gd name="connsiteX4" fmla="*/ 0 w 6668316"/>
              <a:gd name="connsiteY4" fmla="*/ 71718 h 11229185"/>
              <a:gd name="connsiteX0" fmla="*/ 0 w 6668316"/>
              <a:gd name="connsiteY0" fmla="*/ 17930 h 11229185"/>
              <a:gd name="connsiteX1" fmla="*/ 6668316 w 6668316"/>
              <a:gd name="connsiteY1" fmla="*/ 0 h 11229185"/>
              <a:gd name="connsiteX2" fmla="*/ 3853397 w 6668316"/>
              <a:gd name="connsiteY2" fmla="*/ 11229185 h 11229185"/>
              <a:gd name="connsiteX3" fmla="*/ 322730 w 6668316"/>
              <a:gd name="connsiteY3" fmla="*/ 11218727 h 11229185"/>
              <a:gd name="connsiteX4" fmla="*/ 0 w 6668316"/>
              <a:gd name="connsiteY4" fmla="*/ 17930 h 11229185"/>
              <a:gd name="connsiteX0" fmla="*/ 17929 w 6686245"/>
              <a:gd name="connsiteY0" fmla="*/ 17930 h 11229185"/>
              <a:gd name="connsiteX1" fmla="*/ 6686245 w 6686245"/>
              <a:gd name="connsiteY1" fmla="*/ 0 h 11229185"/>
              <a:gd name="connsiteX2" fmla="*/ 3871326 w 6686245"/>
              <a:gd name="connsiteY2" fmla="*/ 11229185 h 11229185"/>
              <a:gd name="connsiteX3" fmla="*/ 0 w 6686245"/>
              <a:gd name="connsiteY3" fmla="*/ 11218727 h 11229185"/>
              <a:gd name="connsiteX4" fmla="*/ 17929 w 6686245"/>
              <a:gd name="connsiteY4" fmla="*/ 17930 h 11229185"/>
              <a:gd name="connsiteX0" fmla="*/ 1726 w 6670042"/>
              <a:gd name="connsiteY0" fmla="*/ 17930 h 11229185"/>
              <a:gd name="connsiteX1" fmla="*/ 6670042 w 6670042"/>
              <a:gd name="connsiteY1" fmla="*/ 0 h 11229185"/>
              <a:gd name="connsiteX2" fmla="*/ 3855123 w 6670042"/>
              <a:gd name="connsiteY2" fmla="*/ 11229185 h 11229185"/>
              <a:gd name="connsiteX3" fmla="*/ 1726 w 6670042"/>
              <a:gd name="connsiteY3" fmla="*/ 11218727 h 11229185"/>
              <a:gd name="connsiteX4" fmla="*/ 1726 w 6670042"/>
              <a:gd name="connsiteY4" fmla="*/ 17930 h 11229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70042" h="11229185">
                <a:moveTo>
                  <a:pt x="1726" y="17930"/>
                </a:moveTo>
                <a:lnTo>
                  <a:pt x="6670042" y="0"/>
                </a:lnTo>
                <a:lnTo>
                  <a:pt x="3855123" y="11229185"/>
                </a:lnTo>
                <a:lnTo>
                  <a:pt x="1726" y="11218727"/>
                </a:lnTo>
                <a:cubicBezTo>
                  <a:pt x="7702" y="7485128"/>
                  <a:pt x="-4250" y="3751529"/>
                  <a:pt x="1726" y="17930"/>
                </a:cubicBezTo>
                <a:close/>
              </a:path>
            </a:pathLst>
          </a:custGeom>
          <a:blipFill dpi="0"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r="345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2398"/>
          </a:p>
        </p:txBody>
      </p:sp>
    </p:spTree>
    <p:extLst>
      <p:ext uri="{BB962C8B-B14F-4D97-AF65-F5344CB8AC3E}">
        <p14:creationId xmlns:p14="http://schemas.microsoft.com/office/powerpoint/2010/main" val="3368566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Slant Imag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39">
            <a:extLst>
              <a:ext uri="{FF2B5EF4-FFF2-40B4-BE49-F238E27FC236}">
                <a16:creationId xmlns:a16="http://schemas.microsoft.com/office/drawing/2014/main" id="{CFB3542D-B2CE-684C-8705-B60939CD5644}"/>
              </a:ext>
            </a:extLst>
          </p:cNvPr>
          <p:cNvSpPr/>
          <p:nvPr userDrawn="1"/>
        </p:nvSpPr>
        <p:spPr>
          <a:xfrm>
            <a:off x="16752845" y="236736"/>
            <a:ext cx="7348962" cy="13220496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2814917 w 6345586"/>
              <a:gd name="connsiteY0" fmla="*/ 0 h 11247115"/>
              <a:gd name="connsiteX1" fmla="*/ 6345586 w 6345586"/>
              <a:gd name="connsiteY1" fmla="*/ 0 h 11247115"/>
              <a:gd name="connsiteX2" fmla="*/ 6345586 w 6345586"/>
              <a:gd name="connsiteY2" fmla="*/ 11229185 h 11247115"/>
              <a:gd name="connsiteX3" fmla="*/ 0 w 6345586"/>
              <a:gd name="connsiteY3" fmla="*/ 11247115 h 11247115"/>
              <a:gd name="connsiteX4" fmla="*/ 2814917 w 6345586"/>
              <a:gd name="connsiteY4" fmla="*/ 0 h 11247115"/>
              <a:gd name="connsiteX0" fmla="*/ 2814917 w 6345586"/>
              <a:gd name="connsiteY0" fmla="*/ 0 h 11229186"/>
              <a:gd name="connsiteX1" fmla="*/ 6345586 w 6345586"/>
              <a:gd name="connsiteY1" fmla="*/ 0 h 11229186"/>
              <a:gd name="connsiteX2" fmla="*/ 6345586 w 6345586"/>
              <a:gd name="connsiteY2" fmla="*/ 11229185 h 11229186"/>
              <a:gd name="connsiteX3" fmla="*/ 0 w 6345586"/>
              <a:gd name="connsiteY3" fmla="*/ 11229186 h 11229186"/>
              <a:gd name="connsiteX4" fmla="*/ 2814917 w 6345586"/>
              <a:gd name="connsiteY4" fmla="*/ 0 h 11229186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1933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620315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12738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8445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30667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560737"/>
              <a:gd name="connsiteY0" fmla="*/ 0 h 11218727"/>
              <a:gd name="connsiteX1" fmla="*/ 6345586 w 6560737"/>
              <a:gd name="connsiteY1" fmla="*/ 0 h 11218727"/>
              <a:gd name="connsiteX2" fmla="*/ 6560737 w 6560737"/>
              <a:gd name="connsiteY2" fmla="*/ 11211255 h 11218727"/>
              <a:gd name="connsiteX3" fmla="*/ 0 w 6560737"/>
              <a:gd name="connsiteY3" fmla="*/ 11218727 h 11218727"/>
              <a:gd name="connsiteX4" fmla="*/ 2814917 w 6560737"/>
              <a:gd name="connsiteY4" fmla="*/ 0 h 11218727"/>
              <a:gd name="connsiteX0" fmla="*/ 2814917 w 6560737"/>
              <a:gd name="connsiteY0" fmla="*/ 0 h 11218727"/>
              <a:gd name="connsiteX1" fmla="*/ 6345586 w 6560737"/>
              <a:gd name="connsiteY1" fmla="*/ 0 h 11218727"/>
              <a:gd name="connsiteX2" fmla="*/ 6560737 w 6560737"/>
              <a:gd name="connsiteY2" fmla="*/ 11211255 h 11218727"/>
              <a:gd name="connsiteX3" fmla="*/ 0 w 6560737"/>
              <a:gd name="connsiteY3" fmla="*/ 11218727 h 11218727"/>
              <a:gd name="connsiteX4" fmla="*/ 2814917 w 6560737"/>
              <a:gd name="connsiteY4" fmla="*/ 0 h 11218727"/>
              <a:gd name="connsiteX0" fmla="*/ 2814917 w 6632456"/>
              <a:gd name="connsiteY0" fmla="*/ 0 h 11218727"/>
              <a:gd name="connsiteX1" fmla="*/ 6632456 w 6632456"/>
              <a:gd name="connsiteY1" fmla="*/ 17930 h 11218727"/>
              <a:gd name="connsiteX2" fmla="*/ 6560737 w 6632456"/>
              <a:gd name="connsiteY2" fmla="*/ 11211255 h 11218727"/>
              <a:gd name="connsiteX3" fmla="*/ 0 w 6632456"/>
              <a:gd name="connsiteY3" fmla="*/ 11218727 h 11218727"/>
              <a:gd name="connsiteX4" fmla="*/ 2814917 w 6632456"/>
              <a:gd name="connsiteY4" fmla="*/ 0 h 11218727"/>
              <a:gd name="connsiteX0" fmla="*/ 2814917 w 6596597"/>
              <a:gd name="connsiteY0" fmla="*/ 0 h 11218727"/>
              <a:gd name="connsiteX1" fmla="*/ 6596597 w 6596597"/>
              <a:gd name="connsiteY1" fmla="*/ 17930 h 11218727"/>
              <a:gd name="connsiteX2" fmla="*/ 6560737 w 6596597"/>
              <a:gd name="connsiteY2" fmla="*/ 11211255 h 11218727"/>
              <a:gd name="connsiteX3" fmla="*/ 0 w 6596597"/>
              <a:gd name="connsiteY3" fmla="*/ 11218727 h 11218727"/>
              <a:gd name="connsiteX4" fmla="*/ 2814917 w 6596597"/>
              <a:gd name="connsiteY4" fmla="*/ 0 h 11218727"/>
              <a:gd name="connsiteX0" fmla="*/ 2814917 w 6650386"/>
              <a:gd name="connsiteY0" fmla="*/ 0 h 11218727"/>
              <a:gd name="connsiteX1" fmla="*/ 6650386 w 6650386"/>
              <a:gd name="connsiteY1" fmla="*/ 17930 h 11218727"/>
              <a:gd name="connsiteX2" fmla="*/ 6560737 w 6650386"/>
              <a:gd name="connsiteY2" fmla="*/ 11211255 h 11218727"/>
              <a:gd name="connsiteX3" fmla="*/ 0 w 6650386"/>
              <a:gd name="connsiteY3" fmla="*/ 11218727 h 11218727"/>
              <a:gd name="connsiteX4" fmla="*/ 2814917 w 6650386"/>
              <a:gd name="connsiteY4" fmla="*/ 0 h 11218727"/>
              <a:gd name="connsiteX0" fmla="*/ 2814917 w 6650386"/>
              <a:gd name="connsiteY0" fmla="*/ 0 h 11218727"/>
              <a:gd name="connsiteX1" fmla="*/ 6650386 w 6650386"/>
              <a:gd name="connsiteY1" fmla="*/ 17930 h 11218727"/>
              <a:gd name="connsiteX2" fmla="*/ 6650385 w 6650386"/>
              <a:gd name="connsiteY2" fmla="*/ 11211255 h 11218727"/>
              <a:gd name="connsiteX3" fmla="*/ 0 w 6650386"/>
              <a:gd name="connsiteY3" fmla="*/ 11218727 h 11218727"/>
              <a:gd name="connsiteX4" fmla="*/ 2814917 w 6650386"/>
              <a:gd name="connsiteY4" fmla="*/ 0 h 11218727"/>
              <a:gd name="connsiteX0" fmla="*/ 2814917 w 6650386"/>
              <a:gd name="connsiteY0" fmla="*/ 0 h 11218727"/>
              <a:gd name="connsiteX1" fmla="*/ 6650386 w 6650386"/>
              <a:gd name="connsiteY1" fmla="*/ 17930 h 11218727"/>
              <a:gd name="connsiteX2" fmla="*/ 6650385 w 6650386"/>
              <a:gd name="connsiteY2" fmla="*/ 11193325 h 11218727"/>
              <a:gd name="connsiteX3" fmla="*/ 0 w 6650386"/>
              <a:gd name="connsiteY3" fmla="*/ 11218727 h 11218727"/>
              <a:gd name="connsiteX4" fmla="*/ 2814917 w 6650386"/>
              <a:gd name="connsiteY4" fmla="*/ 0 h 11218727"/>
              <a:gd name="connsiteX0" fmla="*/ 2814917 w 6704174"/>
              <a:gd name="connsiteY0" fmla="*/ 0 h 11218727"/>
              <a:gd name="connsiteX1" fmla="*/ 6704174 w 6704174"/>
              <a:gd name="connsiteY1" fmla="*/ 17930 h 11218727"/>
              <a:gd name="connsiteX2" fmla="*/ 6650385 w 6704174"/>
              <a:gd name="connsiteY2" fmla="*/ 11193325 h 11218727"/>
              <a:gd name="connsiteX3" fmla="*/ 0 w 6704174"/>
              <a:gd name="connsiteY3" fmla="*/ 11218727 h 11218727"/>
              <a:gd name="connsiteX4" fmla="*/ 2814917 w 6704174"/>
              <a:gd name="connsiteY4" fmla="*/ 0 h 11218727"/>
              <a:gd name="connsiteX0" fmla="*/ 2814917 w 6650386"/>
              <a:gd name="connsiteY0" fmla="*/ 0 h 11218727"/>
              <a:gd name="connsiteX1" fmla="*/ 6650386 w 6650386"/>
              <a:gd name="connsiteY1" fmla="*/ 17930 h 11218727"/>
              <a:gd name="connsiteX2" fmla="*/ 6650385 w 6650386"/>
              <a:gd name="connsiteY2" fmla="*/ 11193325 h 11218727"/>
              <a:gd name="connsiteX3" fmla="*/ 0 w 6650386"/>
              <a:gd name="connsiteY3" fmla="*/ 11218727 h 11218727"/>
              <a:gd name="connsiteX4" fmla="*/ 2814917 w 6650386"/>
              <a:gd name="connsiteY4" fmla="*/ 0 h 11218727"/>
              <a:gd name="connsiteX0" fmla="*/ 2814917 w 6704174"/>
              <a:gd name="connsiteY0" fmla="*/ 0 h 11218727"/>
              <a:gd name="connsiteX1" fmla="*/ 6704174 w 6704174"/>
              <a:gd name="connsiteY1" fmla="*/ 17930 h 11218727"/>
              <a:gd name="connsiteX2" fmla="*/ 6650385 w 6704174"/>
              <a:gd name="connsiteY2" fmla="*/ 11193325 h 11218727"/>
              <a:gd name="connsiteX3" fmla="*/ 0 w 6704174"/>
              <a:gd name="connsiteY3" fmla="*/ 11218727 h 11218727"/>
              <a:gd name="connsiteX4" fmla="*/ 2814917 w 6704174"/>
              <a:gd name="connsiteY4" fmla="*/ 0 h 11218727"/>
              <a:gd name="connsiteX0" fmla="*/ 2814917 w 6704174"/>
              <a:gd name="connsiteY0" fmla="*/ 0 h 11218727"/>
              <a:gd name="connsiteX1" fmla="*/ 6704174 w 6704174"/>
              <a:gd name="connsiteY1" fmla="*/ 17930 h 11218727"/>
              <a:gd name="connsiteX2" fmla="*/ 6704173 w 6704174"/>
              <a:gd name="connsiteY2" fmla="*/ 11211254 h 11218727"/>
              <a:gd name="connsiteX3" fmla="*/ 0 w 6704174"/>
              <a:gd name="connsiteY3" fmla="*/ 11218727 h 11218727"/>
              <a:gd name="connsiteX4" fmla="*/ 2814917 w 6704174"/>
              <a:gd name="connsiteY4" fmla="*/ 0 h 11218727"/>
              <a:gd name="connsiteX0" fmla="*/ 2814917 w 6704174"/>
              <a:gd name="connsiteY0" fmla="*/ 0 h 11218727"/>
              <a:gd name="connsiteX1" fmla="*/ 6704174 w 6704174"/>
              <a:gd name="connsiteY1" fmla="*/ 17930 h 11218727"/>
              <a:gd name="connsiteX2" fmla="*/ 6704173 w 6704174"/>
              <a:gd name="connsiteY2" fmla="*/ 11211254 h 11218727"/>
              <a:gd name="connsiteX3" fmla="*/ 0 w 6704174"/>
              <a:gd name="connsiteY3" fmla="*/ 11218727 h 11218727"/>
              <a:gd name="connsiteX4" fmla="*/ 2814917 w 6704174"/>
              <a:gd name="connsiteY4" fmla="*/ 0 h 11218727"/>
              <a:gd name="connsiteX0" fmla="*/ 2814917 w 6704174"/>
              <a:gd name="connsiteY0" fmla="*/ 0 h 11218727"/>
              <a:gd name="connsiteX1" fmla="*/ 6704174 w 6704174"/>
              <a:gd name="connsiteY1" fmla="*/ 17930 h 11218727"/>
              <a:gd name="connsiteX2" fmla="*/ 6704173 w 6704174"/>
              <a:gd name="connsiteY2" fmla="*/ 11175395 h 11218727"/>
              <a:gd name="connsiteX3" fmla="*/ 0 w 6704174"/>
              <a:gd name="connsiteY3" fmla="*/ 11218727 h 11218727"/>
              <a:gd name="connsiteX4" fmla="*/ 2814917 w 6704174"/>
              <a:gd name="connsiteY4" fmla="*/ 0 h 11218727"/>
              <a:gd name="connsiteX0" fmla="*/ 2814917 w 6704174"/>
              <a:gd name="connsiteY0" fmla="*/ 0 h 11218727"/>
              <a:gd name="connsiteX1" fmla="*/ 6704174 w 6704174"/>
              <a:gd name="connsiteY1" fmla="*/ 17930 h 11218727"/>
              <a:gd name="connsiteX2" fmla="*/ 6704173 w 6704174"/>
              <a:gd name="connsiteY2" fmla="*/ 11193325 h 11218727"/>
              <a:gd name="connsiteX3" fmla="*/ 0 w 6704174"/>
              <a:gd name="connsiteY3" fmla="*/ 11218727 h 11218727"/>
              <a:gd name="connsiteX4" fmla="*/ 2814917 w 6704174"/>
              <a:gd name="connsiteY4" fmla="*/ 0 h 112187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04174" h="11218727">
                <a:moveTo>
                  <a:pt x="2814917" y="0"/>
                </a:moveTo>
                <a:lnTo>
                  <a:pt x="6704174" y="17930"/>
                </a:lnTo>
                <a:cubicBezTo>
                  <a:pt x="6704174" y="3749038"/>
                  <a:pt x="6704173" y="7462217"/>
                  <a:pt x="6704173" y="11193325"/>
                </a:cubicBezTo>
                <a:lnTo>
                  <a:pt x="0" y="11218727"/>
                </a:lnTo>
                <a:lnTo>
                  <a:pt x="2814917" y="0"/>
                </a:lnTo>
                <a:close/>
              </a:path>
            </a:pathLst>
          </a:cu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t="7" b="7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800"/>
          </a:p>
        </p:txBody>
      </p:sp>
      <p:sp>
        <p:nvSpPr>
          <p:cNvPr id="13" name="Rectangle 39">
            <a:extLst>
              <a:ext uri="{FF2B5EF4-FFF2-40B4-BE49-F238E27FC236}">
                <a16:creationId xmlns:a16="http://schemas.microsoft.com/office/drawing/2014/main" id="{3BC3E2CA-F3E4-B946-A862-E5649B965919}"/>
              </a:ext>
            </a:extLst>
          </p:cNvPr>
          <p:cNvSpPr/>
          <p:nvPr userDrawn="1"/>
        </p:nvSpPr>
        <p:spPr>
          <a:xfrm>
            <a:off x="12698483" y="236743"/>
            <a:ext cx="6926980" cy="13220498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2814917 w 6345586"/>
              <a:gd name="connsiteY0" fmla="*/ 0 h 11247115"/>
              <a:gd name="connsiteX1" fmla="*/ 6345586 w 6345586"/>
              <a:gd name="connsiteY1" fmla="*/ 0 h 11247115"/>
              <a:gd name="connsiteX2" fmla="*/ 6345586 w 6345586"/>
              <a:gd name="connsiteY2" fmla="*/ 11229185 h 11247115"/>
              <a:gd name="connsiteX3" fmla="*/ 0 w 6345586"/>
              <a:gd name="connsiteY3" fmla="*/ 11247115 h 11247115"/>
              <a:gd name="connsiteX4" fmla="*/ 2814917 w 6345586"/>
              <a:gd name="connsiteY4" fmla="*/ 0 h 11247115"/>
              <a:gd name="connsiteX0" fmla="*/ 2814917 w 6345586"/>
              <a:gd name="connsiteY0" fmla="*/ 0 h 11229186"/>
              <a:gd name="connsiteX1" fmla="*/ 6345586 w 6345586"/>
              <a:gd name="connsiteY1" fmla="*/ 0 h 11229186"/>
              <a:gd name="connsiteX2" fmla="*/ 6345586 w 6345586"/>
              <a:gd name="connsiteY2" fmla="*/ 11229185 h 11229186"/>
              <a:gd name="connsiteX3" fmla="*/ 0 w 6345586"/>
              <a:gd name="connsiteY3" fmla="*/ 11229186 h 11229186"/>
              <a:gd name="connsiteX4" fmla="*/ 2814917 w 6345586"/>
              <a:gd name="connsiteY4" fmla="*/ 0 h 11229186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1933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620315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12738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8445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30667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45586" h="11229185">
                <a:moveTo>
                  <a:pt x="2814917" y="0"/>
                </a:moveTo>
                <a:lnTo>
                  <a:pt x="6345586" y="0"/>
                </a:lnTo>
                <a:lnTo>
                  <a:pt x="3530667" y="11229185"/>
                </a:lnTo>
                <a:lnTo>
                  <a:pt x="0" y="11218727"/>
                </a:lnTo>
                <a:lnTo>
                  <a:pt x="2814917" y="0"/>
                </a:lnTo>
                <a:close/>
              </a:path>
            </a:pathLst>
          </a:custGeo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t="7" b="7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800"/>
          </a:p>
        </p:txBody>
      </p:sp>
      <p:sp>
        <p:nvSpPr>
          <p:cNvPr id="14" name="Rectangle 39">
            <a:extLst>
              <a:ext uri="{FF2B5EF4-FFF2-40B4-BE49-F238E27FC236}">
                <a16:creationId xmlns:a16="http://schemas.microsoft.com/office/drawing/2014/main" id="{21A7EABA-2369-0642-871D-312192B0F17F}"/>
              </a:ext>
            </a:extLst>
          </p:cNvPr>
          <p:cNvSpPr/>
          <p:nvPr userDrawn="1"/>
        </p:nvSpPr>
        <p:spPr>
          <a:xfrm>
            <a:off x="227448" y="264230"/>
            <a:ext cx="7281162" cy="13237064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2814917 w 6345586"/>
              <a:gd name="connsiteY0" fmla="*/ 0 h 11247115"/>
              <a:gd name="connsiteX1" fmla="*/ 6345586 w 6345586"/>
              <a:gd name="connsiteY1" fmla="*/ 0 h 11247115"/>
              <a:gd name="connsiteX2" fmla="*/ 6345586 w 6345586"/>
              <a:gd name="connsiteY2" fmla="*/ 11229185 h 11247115"/>
              <a:gd name="connsiteX3" fmla="*/ 0 w 6345586"/>
              <a:gd name="connsiteY3" fmla="*/ 11247115 h 11247115"/>
              <a:gd name="connsiteX4" fmla="*/ 2814917 w 6345586"/>
              <a:gd name="connsiteY4" fmla="*/ 0 h 11247115"/>
              <a:gd name="connsiteX0" fmla="*/ 2814917 w 6345586"/>
              <a:gd name="connsiteY0" fmla="*/ 0 h 11229186"/>
              <a:gd name="connsiteX1" fmla="*/ 6345586 w 6345586"/>
              <a:gd name="connsiteY1" fmla="*/ 0 h 11229186"/>
              <a:gd name="connsiteX2" fmla="*/ 6345586 w 6345586"/>
              <a:gd name="connsiteY2" fmla="*/ 11229185 h 11229186"/>
              <a:gd name="connsiteX3" fmla="*/ 0 w 6345586"/>
              <a:gd name="connsiteY3" fmla="*/ 11229186 h 11229186"/>
              <a:gd name="connsiteX4" fmla="*/ 2814917 w 6345586"/>
              <a:gd name="connsiteY4" fmla="*/ 0 h 11229186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1933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620315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12738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8445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30667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0 w 6668316"/>
              <a:gd name="connsiteY0" fmla="*/ 71718 h 11229185"/>
              <a:gd name="connsiteX1" fmla="*/ 6668316 w 6668316"/>
              <a:gd name="connsiteY1" fmla="*/ 0 h 11229185"/>
              <a:gd name="connsiteX2" fmla="*/ 3853397 w 6668316"/>
              <a:gd name="connsiteY2" fmla="*/ 11229185 h 11229185"/>
              <a:gd name="connsiteX3" fmla="*/ 322730 w 6668316"/>
              <a:gd name="connsiteY3" fmla="*/ 11218727 h 11229185"/>
              <a:gd name="connsiteX4" fmla="*/ 0 w 6668316"/>
              <a:gd name="connsiteY4" fmla="*/ 71718 h 11229185"/>
              <a:gd name="connsiteX0" fmla="*/ 0 w 6668316"/>
              <a:gd name="connsiteY0" fmla="*/ 17930 h 11229185"/>
              <a:gd name="connsiteX1" fmla="*/ 6668316 w 6668316"/>
              <a:gd name="connsiteY1" fmla="*/ 0 h 11229185"/>
              <a:gd name="connsiteX2" fmla="*/ 3853397 w 6668316"/>
              <a:gd name="connsiteY2" fmla="*/ 11229185 h 11229185"/>
              <a:gd name="connsiteX3" fmla="*/ 322730 w 6668316"/>
              <a:gd name="connsiteY3" fmla="*/ 11218727 h 11229185"/>
              <a:gd name="connsiteX4" fmla="*/ 0 w 6668316"/>
              <a:gd name="connsiteY4" fmla="*/ 17930 h 11229185"/>
              <a:gd name="connsiteX0" fmla="*/ 17929 w 6686245"/>
              <a:gd name="connsiteY0" fmla="*/ 17930 h 11229185"/>
              <a:gd name="connsiteX1" fmla="*/ 6686245 w 6686245"/>
              <a:gd name="connsiteY1" fmla="*/ 0 h 11229185"/>
              <a:gd name="connsiteX2" fmla="*/ 3871326 w 6686245"/>
              <a:gd name="connsiteY2" fmla="*/ 11229185 h 11229185"/>
              <a:gd name="connsiteX3" fmla="*/ 0 w 6686245"/>
              <a:gd name="connsiteY3" fmla="*/ 11218727 h 11229185"/>
              <a:gd name="connsiteX4" fmla="*/ 17929 w 6686245"/>
              <a:gd name="connsiteY4" fmla="*/ 17930 h 11229185"/>
              <a:gd name="connsiteX0" fmla="*/ 1726 w 6670042"/>
              <a:gd name="connsiteY0" fmla="*/ 17930 h 11229185"/>
              <a:gd name="connsiteX1" fmla="*/ 6670042 w 6670042"/>
              <a:gd name="connsiteY1" fmla="*/ 0 h 11229185"/>
              <a:gd name="connsiteX2" fmla="*/ 3855123 w 6670042"/>
              <a:gd name="connsiteY2" fmla="*/ 11229185 h 11229185"/>
              <a:gd name="connsiteX3" fmla="*/ 1726 w 6670042"/>
              <a:gd name="connsiteY3" fmla="*/ 11218727 h 11229185"/>
              <a:gd name="connsiteX4" fmla="*/ 1726 w 6670042"/>
              <a:gd name="connsiteY4" fmla="*/ 17930 h 11229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70042" h="11229185">
                <a:moveTo>
                  <a:pt x="1726" y="17930"/>
                </a:moveTo>
                <a:lnTo>
                  <a:pt x="6670042" y="0"/>
                </a:lnTo>
                <a:lnTo>
                  <a:pt x="3855123" y="11229185"/>
                </a:lnTo>
                <a:lnTo>
                  <a:pt x="1726" y="11218727"/>
                </a:lnTo>
                <a:cubicBezTo>
                  <a:pt x="7702" y="7485128"/>
                  <a:pt x="-4250" y="3751529"/>
                  <a:pt x="1726" y="17930"/>
                </a:cubicBezTo>
                <a:close/>
              </a:path>
            </a:pathLst>
          </a:custGeo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 t="2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800"/>
          </a:p>
        </p:txBody>
      </p:sp>
      <p:sp>
        <p:nvSpPr>
          <p:cNvPr id="15" name="Rectangle 39">
            <a:extLst>
              <a:ext uri="{FF2B5EF4-FFF2-40B4-BE49-F238E27FC236}">
                <a16:creationId xmlns:a16="http://schemas.microsoft.com/office/drawing/2014/main" id="{163D95A0-1322-844B-BE56-D4E07E45CC6E}"/>
              </a:ext>
            </a:extLst>
          </p:cNvPr>
          <p:cNvSpPr/>
          <p:nvPr userDrawn="1"/>
        </p:nvSpPr>
        <p:spPr>
          <a:xfrm>
            <a:off x="4646842" y="261501"/>
            <a:ext cx="6926980" cy="13242526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2814917 w 6345586"/>
              <a:gd name="connsiteY0" fmla="*/ 0 h 11247115"/>
              <a:gd name="connsiteX1" fmla="*/ 6345586 w 6345586"/>
              <a:gd name="connsiteY1" fmla="*/ 0 h 11247115"/>
              <a:gd name="connsiteX2" fmla="*/ 6345586 w 6345586"/>
              <a:gd name="connsiteY2" fmla="*/ 11229185 h 11247115"/>
              <a:gd name="connsiteX3" fmla="*/ 0 w 6345586"/>
              <a:gd name="connsiteY3" fmla="*/ 11247115 h 11247115"/>
              <a:gd name="connsiteX4" fmla="*/ 2814917 w 6345586"/>
              <a:gd name="connsiteY4" fmla="*/ 0 h 11247115"/>
              <a:gd name="connsiteX0" fmla="*/ 2814917 w 6345586"/>
              <a:gd name="connsiteY0" fmla="*/ 0 h 11229186"/>
              <a:gd name="connsiteX1" fmla="*/ 6345586 w 6345586"/>
              <a:gd name="connsiteY1" fmla="*/ 0 h 11229186"/>
              <a:gd name="connsiteX2" fmla="*/ 6345586 w 6345586"/>
              <a:gd name="connsiteY2" fmla="*/ 11229185 h 11229186"/>
              <a:gd name="connsiteX3" fmla="*/ 0 w 6345586"/>
              <a:gd name="connsiteY3" fmla="*/ 11229186 h 11229186"/>
              <a:gd name="connsiteX4" fmla="*/ 2814917 w 6345586"/>
              <a:gd name="connsiteY4" fmla="*/ 0 h 11229186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1933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620315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12738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8445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30667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45586" h="11229185">
                <a:moveTo>
                  <a:pt x="2814917" y="0"/>
                </a:moveTo>
                <a:lnTo>
                  <a:pt x="6345586" y="0"/>
                </a:lnTo>
                <a:lnTo>
                  <a:pt x="3530667" y="11229185"/>
                </a:lnTo>
                <a:lnTo>
                  <a:pt x="0" y="11218727"/>
                </a:lnTo>
                <a:lnTo>
                  <a:pt x="2814917" y="0"/>
                </a:lnTo>
                <a:close/>
              </a:path>
            </a:pathLst>
          </a:custGeom>
          <a:blipFill dpi="0"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t="20" b="2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800"/>
          </a:p>
        </p:txBody>
      </p:sp>
      <p:sp>
        <p:nvSpPr>
          <p:cNvPr id="16" name="Rectangle 39">
            <a:extLst>
              <a:ext uri="{FF2B5EF4-FFF2-40B4-BE49-F238E27FC236}">
                <a16:creationId xmlns:a16="http://schemas.microsoft.com/office/drawing/2014/main" id="{EAB5D1A8-60D7-8F4D-AB3B-0CBB7CD5B00A}"/>
              </a:ext>
            </a:extLst>
          </p:cNvPr>
          <p:cNvSpPr>
            <a:spLocks/>
          </p:cNvSpPr>
          <p:nvPr userDrawn="1"/>
        </p:nvSpPr>
        <p:spPr>
          <a:xfrm>
            <a:off x="8672662" y="214713"/>
            <a:ext cx="6931153" cy="13242526"/>
          </a:xfrm>
          <a:custGeom>
            <a:avLst/>
            <a:gdLst>
              <a:gd name="connsiteX0" fmla="*/ 0 w 3530669"/>
              <a:gd name="connsiteY0" fmla="*/ 0 h 11229185"/>
              <a:gd name="connsiteX1" fmla="*/ 3530669 w 3530669"/>
              <a:gd name="connsiteY1" fmla="*/ 0 h 11229185"/>
              <a:gd name="connsiteX2" fmla="*/ 3530669 w 3530669"/>
              <a:gd name="connsiteY2" fmla="*/ 11229185 h 11229185"/>
              <a:gd name="connsiteX3" fmla="*/ 0 w 3530669"/>
              <a:gd name="connsiteY3" fmla="*/ 11229185 h 11229185"/>
              <a:gd name="connsiteX4" fmla="*/ 0 w 3530669"/>
              <a:gd name="connsiteY4" fmla="*/ 0 h 11229185"/>
              <a:gd name="connsiteX0" fmla="*/ 2814917 w 6345586"/>
              <a:gd name="connsiteY0" fmla="*/ 0 h 11247115"/>
              <a:gd name="connsiteX1" fmla="*/ 6345586 w 6345586"/>
              <a:gd name="connsiteY1" fmla="*/ 0 h 11247115"/>
              <a:gd name="connsiteX2" fmla="*/ 6345586 w 6345586"/>
              <a:gd name="connsiteY2" fmla="*/ 11229185 h 11247115"/>
              <a:gd name="connsiteX3" fmla="*/ 0 w 6345586"/>
              <a:gd name="connsiteY3" fmla="*/ 11247115 h 11247115"/>
              <a:gd name="connsiteX4" fmla="*/ 2814917 w 6345586"/>
              <a:gd name="connsiteY4" fmla="*/ 0 h 11247115"/>
              <a:gd name="connsiteX0" fmla="*/ 2814917 w 6345586"/>
              <a:gd name="connsiteY0" fmla="*/ 0 h 11229186"/>
              <a:gd name="connsiteX1" fmla="*/ 6345586 w 6345586"/>
              <a:gd name="connsiteY1" fmla="*/ 0 h 11229186"/>
              <a:gd name="connsiteX2" fmla="*/ 6345586 w 6345586"/>
              <a:gd name="connsiteY2" fmla="*/ 11229185 h 11229186"/>
              <a:gd name="connsiteX3" fmla="*/ 0 w 6345586"/>
              <a:gd name="connsiteY3" fmla="*/ 11229186 h 11229186"/>
              <a:gd name="connsiteX4" fmla="*/ 2814917 w 6345586"/>
              <a:gd name="connsiteY4" fmla="*/ 0 h 11229186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1933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634558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620315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12738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84456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  <a:gd name="connsiteX0" fmla="*/ 2814917 w 6345586"/>
              <a:gd name="connsiteY0" fmla="*/ 0 h 11229185"/>
              <a:gd name="connsiteX1" fmla="*/ 6345586 w 6345586"/>
              <a:gd name="connsiteY1" fmla="*/ 0 h 11229185"/>
              <a:gd name="connsiteX2" fmla="*/ 3530667 w 6345586"/>
              <a:gd name="connsiteY2" fmla="*/ 11229185 h 11229185"/>
              <a:gd name="connsiteX3" fmla="*/ 0 w 6345586"/>
              <a:gd name="connsiteY3" fmla="*/ 11218727 h 11229185"/>
              <a:gd name="connsiteX4" fmla="*/ 2814917 w 6345586"/>
              <a:gd name="connsiteY4" fmla="*/ 0 h 112291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45586" h="11229185">
                <a:moveTo>
                  <a:pt x="2814917" y="0"/>
                </a:moveTo>
                <a:lnTo>
                  <a:pt x="6345586" y="0"/>
                </a:lnTo>
                <a:lnTo>
                  <a:pt x="3530667" y="11229185"/>
                </a:lnTo>
                <a:lnTo>
                  <a:pt x="0" y="11218727"/>
                </a:lnTo>
                <a:lnTo>
                  <a:pt x="2814917" y="0"/>
                </a:lnTo>
                <a:close/>
              </a:path>
            </a:pathLst>
          </a:custGeom>
          <a:blipFill dpi="0"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80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EDAB5E6-686B-E44D-93BE-82E3AA481A56}"/>
              </a:ext>
            </a:extLst>
          </p:cNvPr>
          <p:cNvSpPr/>
          <p:nvPr userDrawn="1"/>
        </p:nvSpPr>
        <p:spPr>
          <a:xfrm>
            <a:off x="3178" y="6695116"/>
            <a:ext cx="24377650" cy="73847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794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658C4F4-D78A-4541-8CE7-E43B3923BF16}"/>
              </a:ext>
            </a:extLst>
          </p:cNvPr>
          <p:cNvSpPr txBox="1"/>
          <p:nvPr userDrawn="1"/>
        </p:nvSpPr>
        <p:spPr>
          <a:xfrm>
            <a:off x="669128" y="6644323"/>
            <a:ext cx="4625881" cy="83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794">
                <a:solidFill>
                  <a:srgbClr val="92D050"/>
                </a:solidFill>
                <a:latin typeface="+mj-lt"/>
              </a:rPr>
              <a:t>ARIAL 24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E0296C4-CC40-2447-A26F-7DC1016B2FCC}"/>
              </a:ext>
            </a:extLst>
          </p:cNvPr>
          <p:cNvSpPr txBox="1"/>
          <p:nvPr userDrawn="1"/>
        </p:nvSpPr>
        <p:spPr>
          <a:xfrm>
            <a:off x="18132603" y="6644321"/>
            <a:ext cx="6023959" cy="83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794">
                <a:solidFill>
                  <a:srgbClr val="92D050"/>
                </a:solidFill>
              </a:rPr>
              <a:t>ARIAL 24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381668F-CE8E-2643-B109-A785A6492A1B}"/>
              </a:ext>
            </a:extLst>
          </p:cNvPr>
          <p:cNvSpPr txBox="1"/>
          <p:nvPr userDrawn="1"/>
        </p:nvSpPr>
        <p:spPr>
          <a:xfrm>
            <a:off x="6244588" y="6644323"/>
            <a:ext cx="3702948" cy="83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794">
                <a:solidFill>
                  <a:srgbClr val="92D050"/>
                </a:solidFill>
              </a:rPr>
              <a:t>ARIAL 24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7DC21EB-94F0-B240-A58A-7759CC51B957}"/>
              </a:ext>
            </a:extLst>
          </p:cNvPr>
          <p:cNvSpPr txBox="1"/>
          <p:nvPr userDrawn="1"/>
        </p:nvSpPr>
        <p:spPr>
          <a:xfrm>
            <a:off x="10319768" y="6644323"/>
            <a:ext cx="3702948" cy="83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794">
                <a:solidFill>
                  <a:srgbClr val="92D050"/>
                </a:solidFill>
              </a:rPr>
              <a:t>ARIAL 24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0106904-5D7A-DD49-A3A3-EEDD6C7B5E61}"/>
              </a:ext>
            </a:extLst>
          </p:cNvPr>
          <p:cNvSpPr txBox="1"/>
          <p:nvPr userDrawn="1"/>
        </p:nvSpPr>
        <p:spPr>
          <a:xfrm>
            <a:off x="14196695" y="6644323"/>
            <a:ext cx="3702948" cy="83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794">
                <a:solidFill>
                  <a:srgbClr val="92D050"/>
                </a:solidFill>
              </a:rPr>
              <a:t>ARIAL 24</a:t>
            </a:r>
          </a:p>
        </p:txBody>
      </p:sp>
    </p:spTree>
    <p:extLst>
      <p:ext uri="{BB962C8B-B14F-4D97-AF65-F5344CB8AC3E}">
        <p14:creationId xmlns:p14="http://schemas.microsoft.com/office/powerpoint/2010/main" val="3476257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500"/>
                            </p:stCondLst>
                            <p:childTnLst>
                              <p:par>
                                <p:cTn id="30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000"/>
                            </p:stCondLst>
                            <p:childTnLst>
                              <p:par>
                                <p:cTn id="3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3500"/>
                            </p:stCondLst>
                            <p:childTnLst>
                              <p:par>
                                <p:cTn id="40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4000"/>
                            </p:stCondLst>
                            <p:childTnLst>
                              <p:par>
                                <p:cTn id="4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4500"/>
                            </p:stCondLst>
                            <p:childTnLst>
                              <p:par>
                                <p:cTn id="50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13" grpId="0" animBg="1"/>
      <p:bldP spid="14" grpId="0" animBg="1"/>
      <p:bldP spid="15" grpId="0" animBg="1"/>
      <p:bldP spid="16" grpId="0" animBg="1"/>
      <p:bldP spid="18" grpId="0"/>
      <p:bldP spid="19" grpId="0"/>
      <p:bldP spid="20" grpId="0"/>
      <p:bldP spid="21" grpId="0"/>
      <p:bldP spid="22" grpId="0"/>
    </p:bld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Image Dataspher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0" hasCustomPrompt="1"/>
          </p:nvPr>
        </p:nvSpPr>
        <p:spPr>
          <a:xfrm>
            <a:off x="-162382" y="-167167"/>
            <a:ext cx="5261326" cy="5256606"/>
          </a:xfrm>
          <a:prstGeom prst="ellipse">
            <a:avLst/>
          </a:prstGeom>
        </p:spPr>
        <p:txBody>
          <a:bodyPr anchor="ctr"/>
          <a:lstStyle>
            <a:lvl1pPr algn="ctr">
              <a:defRPr sz="2000"/>
            </a:lvl1pPr>
          </a:lstStyle>
          <a:p>
            <a:r>
              <a:rPr lang="en-US"/>
              <a:t>Click Icon to Change Photo</a:t>
            </a:r>
          </a:p>
        </p:txBody>
      </p:sp>
      <p:sp>
        <p:nvSpPr>
          <p:cNvPr id="15" name="Picture Placeholder 13"/>
          <p:cNvSpPr>
            <a:spLocks noGrp="1"/>
          </p:cNvSpPr>
          <p:nvPr>
            <p:ph type="pic" sz="quarter" idx="11" hasCustomPrompt="1"/>
          </p:nvPr>
        </p:nvSpPr>
        <p:spPr>
          <a:xfrm>
            <a:off x="3784768" y="4229699"/>
            <a:ext cx="5261326" cy="5256606"/>
          </a:xfrm>
          <a:prstGeom prst="ellipse">
            <a:avLst/>
          </a:prstGeom>
        </p:spPr>
        <p:txBody>
          <a:bodyPr anchor="ctr"/>
          <a:lstStyle>
            <a:lvl1pPr marL="0" marR="0" indent="0" algn="ctr" defTabSz="1086684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/>
            </a:lvl1pPr>
          </a:lstStyle>
          <a:p>
            <a:pPr marL="0" marR="0" lvl="0" indent="0" algn="ctr" defTabSz="1086684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Icon to Change Photo</a:t>
            </a:r>
          </a:p>
          <a:p>
            <a:endParaRPr lang="en-US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12" hasCustomPrompt="1"/>
          </p:nvPr>
        </p:nvSpPr>
        <p:spPr>
          <a:xfrm>
            <a:off x="8455578" y="1578575"/>
            <a:ext cx="4715932" cy="4711702"/>
          </a:xfrm>
          <a:prstGeom prst="ellipse">
            <a:avLst/>
          </a:prstGeom>
        </p:spPr>
        <p:txBody>
          <a:bodyPr anchor="ctr"/>
          <a:lstStyle>
            <a:lvl1pPr marL="0" marR="0" indent="0" algn="ctr" defTabSz="1086684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/>
            </a:lvl1pPr>
          </a:lstStyle>
          <a:p>
            <a:pPr marL="0" marR="0" lvl="0" indent="0" algn="ctr" defTabSz="1086684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Icon to Change Photo</a:t>
            </a:r>
          </a:p>
          <a:p>
            <a:endParaRPr lang="en-US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3" hasCustomPrompt="1"/>
          </p:nvPr>
        </p:nvSpPr>
        <p:spPr>
          <a:xfrm>
            <a:off x="383010" y="8626565"/>
            <a:ext cx="4715932" cy="4711702"/>
          </a:xfrm>
          <a:prstGeom prst="ellipse">
            <a:avLst/>
          </a:prstGeom>
        </p:spPr>
        <p:txBody>
          <a:bodyPr anchor="ctr"/>
          <a:lstStyle>
            <a:lvl1pPr marL="0" marR="0" indent="0" algn="ctr" defTabSz="1086684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/>
            </a:lvl1pPr>
          </a:lstStyle>
          <a:p>
            <a:pPr marL="0" marR="0" lvl="0" indent="0" algn="ctr" defTabSz="1086684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Icon to Change Photo</a:t>
            </a:r>
          </a:p>
          <a:p>
            <a:endParaRPr lang="en-US"/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14" hasCustomPrompt="1"/>
          </p:nvPr>
        </p:nvSpPr>
        <p:spPr>
          <a:xfrm>
            <a:off x="9088056" y="7732042"/>
            <a:ext cx="3634032" cy="3658204"/>
          </a:xfrm>
          <a:prstGeom prst="ellipse">
            <a:avLst/>
          </a:prstGeom>
        </p:spPr>
        <p:txBody>
          <a:bodyPr anchor="ctr"/>
          <a:lstStyle>
            <a:lvl1pPr marL="0" marR="0" indent="0" algn="ctr" defTabSz="1086684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/>
            </a:lvl1pPr>
          </a:lstStyle>
          <a:p>
            <a:pPr marL="0" marR="0" lvl="0" indent="0" algn="ctr" defTabSz="1086684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Icon to Change Photo</a:t>
            </a:r>
          </a:p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C331936-CCB6-774F-9FAB-B9064684F5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42174" y="6093614"/>
            <a:ext cx="14330002" cy="1595504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r>
              <a:rPr lang="en-US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3866495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7_Header_Subhead_Bubbles">
    <p:bg>
      <p:bgPr>
        <a:solidFill>
          <a:srgbClr val="CFCFC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4" descr="Picture 14">
            <a:extLst>
              <a:ext uri="{FF2B5EF4-FFF2-40B4-BE49-F238E27FC236}">
                <a16:creationId xmlns:a16="http://schemas.microsoft.com/office/drawing/2014/main" id="{0462AF11-3560-4445-B3CB-90817C7910B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2"/>
            <a:ext cx="24384000" cy="13716000"/>
          </a:xfrm>
          <a:prstGeom prst="rect">
            <a:avLst/>
          </a:prstGeom>
          <a:ln w="12700">
            <a:miter lim="400000"/>
          </a:ln>
        </p:spPr>
      </p:pic>
      <p:sp>
        <p:nvSpPr>
          <p:cNvPr id="97" name="Straight Connector 7"/>
          <p:cNvSpPr/>
          <p:nvPr/>
        </p:nvSpPr>
        <p:spPr>
          <a:xfrm>
            <a:off x="23152410" y="12956308"/>
            <a:ext cx="2" cy="446724"/>
          </a:xfrm>
          <a:prstGeom prst="line">
            <a:avLst/>
          </a:prstGeom>
          <a:ln>
            <a:solidFill>
              <a:schemeClr val="accent1"/>
            </a:solidFill>
          </a:ln>
        </p:spPr>
        <p:txBody>
          <a:bodyPr lIns="91414" rIns="91414"/>
          <a:lstStyle/>
          <a:p>
            <a:endParaRPr sz="2800"/>
          </a:p>
        </p:txBody>
      </p:sp>
      <p:sp>
        <p:nvSpPr>
          <p:cNvPr id="98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22369688" y="12939515"/>
            <a:ext cx="646224" cy="480314"/>
          </a:xfrm>
          <a:prstGeom prst="rect">
            <a:avLst/>
          </a:prstGeom>
        </p:spPr>
        <p:txBody>
          <a:bodyPr anchor="ctr"/>
          <a:lstStyle>
            <a:lvl1pPr>
              <a:defRPr sz="2000">
                <a:solidFill>
                  <a:schemeClr val="accent1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pic>
        <p:nvPicPr>
          <p:cNvPr id="99" name="Picture 12" descr="Picture 12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300446" y="12750434"/>
            <a:ext cx="858468" cy="858468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351046443"/>
      </p:ext>
    </p:extLst>
  </p:cSld>
  <p:clrMapOvr>
    <a:masterClrMapping/>
  </p:clrMapOvr>
  <p:transition spd="med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lumn w/ Green Bar" userDrawn="1">
  <p:cSld name="2 Column w/ Green Bar">
    <p:spTree>
      <p:nvGrpSpPr>
        <p:cNvPr id="1" name="Shape 23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80" name="Google Shape;2380;p228"/>
          <p:cNvPicPr preferRelativeResize="0"/>
          <p:nvPr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175" y="12336600"/>
            <a:ext cx="24390352" cy="1379400"/>
          </a:xfrm>
          <a:prstGeom prst="rect">
            <a:avLst/>
          </a:prstGeom>
          <a:noFill/>
          <a:ln>
            <a:noFill/>
          </a:ln>
        </p:spPr>
      </p:pic>
      <p:sp>
        <p:nvSpPr>
          <p:cNvPr id="2381" name="Google Shape;2381;p228"/>
          <p:cNvSpPr txBox="1">
            <a:spLocks noGrp="1"/>
          </p:cNvSpPr>
          <p:nvPr>
            <p:ph type="title"/>
          </p:nvPr>
        </p:nvSpPr>
        <p:spPr>
          <a:xfrm>
            <a:off x="1066780" y="934300"/>
            <a:ext cx="22387030" cy="999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0" tIns="91400" rIns="91400" bIns="91400" anchor="ctr" anchorCtr="0">
            <a:no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500"/>
              <a:buFont typeface="Arial"/>
              <a:buNone/>
              <a:defRPr sz="5598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spcAft>
                <a:spcPts val="0"/>
              </a:spcAft>
              <a:buSzPts val="1500"/>
              <a:buNone/>
              <a:defRPr sz="3798"/>
            </a:lvl2pPr>
            <a:lvl3pPr lvl="2" indent="0" rtl="0">
              <a:spcBef>
                <a:spcPts val="0"/>
              </a:spcBef>
              <a:spcAft>
                <a:spcPts val="0"/>
              </a:spcAft>
              <a:buSzPts val="1500"/>
              <a:buNone/>
              <a:defRPr sz="3798"/>
            </a:lvl3pPr>
            <a:lvl4pPr lvl="3" indent="0" rtl="0">
              <a:spcBef>
                <a:spcPts val="0"/>
              </a:spcBef>
              <a:spcAft>
                <a:spcPts val="0"/>
              </a:spcAft>
              <a:buSzPts val="1500"/>
              <a:buNone/>
              <a:defRPr sz="3798"/>
            </a:lvl4pPr>
            <a:lvl5pPr lvl="4" indent="0" rtl="0">
              <a:spcBef>
                <a:spcPts val="0"/>
              </a:spcBef>
              <a:spcAft>
                <a:spcPts val="0"/>
              </a:spcAft>
              <a:buSzPts val="1500"/>
              <a:buNone/>
              <a:defRPr sz="3798"/>
            </a:lvl5pPr>
            <a:lvl6pPr lvl="5" indent="0" rtl="0">
              <a:spcBef>
                <a:spcPts val="0"/>
              </a:spcBef>
              <a:spcAft>
                <a:spcPts val="0"/>
              </a:spcAft>
              <a:buSzPts val="1500"/>
              <a:buNone/>
              <a:defRPr sz="3798"/>
            </a:lvl6pPr>
            <a:lvl7pPr lvl="6" indent="0" rtl="0">
              <a:spcBef>
                <a:spcPts val="0"/>
              </a:spcBef>
              <a:spcAft>
                <a:spcPts val="0"/>
              </a:spcAft>
              <a:buSzPts val="1500"/>
              <a:buNone/>
              <a:defRPr sz="3798"/>
            </a:lvl7pPr>
            <a:lvl8pPr lvl="7" indent="0" rtl="0">
              <a:spcBef>
                <a:spcPts val="0"/>
              </a:spcBef>
              <a:spcAft>
                <a:spcPts val="0"/>
              </a:spcAft>
              <a:buSzPts val="1500"/>
              <a:buNone/>
              <a:defRPr sz="3798"/>
            </a:lvl8pPr>
            <a:lvl9pPr lvl="8" indent="0" rtl="0">
              <a:spcBef>
                <a:spcPts val="0"/>
              </a:spcBef>
              <a:spcAft>
                <a:spcPts val="0"/>
              </a:spcAft>
              <a:buSzPts val="1500"/>
              <a:buNone/>
              <a:defRPr sz="3798"/>
            </a:lvl9pPr>
          </a:lstStyle>
          <a:p>
            <a:endParaRPr/>
          </a:p>
        </p:txBody>
      </p:sp>
      <p:sp>
        <p:nvSpPr>
          <p:cNvPr id="2382" name="Google Shape;2382;p228"/>
          <p:cNvSpPr txBox="1">
            <a:spLocks noGrp="1"/>
          </p:cNvSpPr>
          <p:nvPr>
            <p:ph type="subTitle" idx="1"/>
          </p:nvPr>
        </p:nvSpPr>
        <p:spPr>
          <a:xfrm>
            <a:off x="1092635" y="1891100"/>
            <a:ext cx="22361823" cy="855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0" tIns="91400" rIns="91400" bIns="91400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3998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3000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3000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3000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3000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3000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3000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3000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3000"/>
            </a:lvl9pPr>
          </a:lstStyle>
          <a:p>
            <a:endParaRPr/>
          </a:p>
        </p:txBody>
      </p:sp>
      <p:sp>
        <p:nvSpPr>
          <p:cNvPr id="2383" name="Google Shape;2383;p228"/>
          <p:cNvSpPr txBox="1">
            <a:spLocks noGrp="1"/>
          </p:cNvSpPr>
          <p:nvPr>
            <p:ph type="subTitle" idx="2"/>
          </p:nvPr>
        </p:nvSpPr>
        <p:spPr>
          <a:xfrm>
            <a:off x="1092634" y="3922950"/>
            <a:ext cx="10835822" cy="705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0" tIns="91400" rIns="91400" bIns="91400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3998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3998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3998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3998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3998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3998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3998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3998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3998"/>
            </a:lvl9pPr>
          </a:lstStyle>
          <a:p>
            <a:endParaRPr/>
          </a:p>
        </p:txBody>
      </p:sp>
      <p:sp>
        <p:nvSpPr>
          <p:cNvPr id="2384" name="Google Shape;2384;p228"/>
          <p:cNvSpPr txBox="1">
            <a:spLocks noGrp="1"/>
          </p:cNvSpPr>
          <p:nvPr>
            <p:ph type="subTitle" idx="3"/>
          </p:nvPr>
        </p:nvSpPr>
        <p:spPr>
          <a:xfrm>
            <a:off x="12574275" y="3922950"/>
            <a:ext cx="10356297" cy="705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0" tIns="91400" rIns="91400" bIns="91400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None/>
              <a:defRPr sz="3998"/>
            </a:lvl1pPr>
            <a:lvl2pPr lvl="1" rtl="0">
              <a:spcBef>
                <a:spcPts val="0"/>
              </a:spcBef>
              <a:spcAft>
                <a:spcPts val="0"/>
              </a:spcAft>
              <a:buNone/>
              <a:defRPr sz="3998"/>
            </a:lvl2pPr>
            <a:lvl3pPr lvl="2" rtl="0">
              <a:spcBef>
                <a:spcPts val="0"/>
              </a:spcBef>
              <a:spcAft>
                <a:spcPts val="0"/>
              </a:spcAft>
              <a:buNone/>
              <a:defRPr sz="3998"/>
            </a:lvl3pPr>
            <a:lvl4pPr lvl="3" rtl="0">
              <a:spcBef>
                <a:spcPts val="0"/>
              </a:spcBef>
              <a:spcAft>
                <a:spcPts val="0"/>
              </a:spcAft>
              <a:buNone/>
              <a:defRPr sz="3998"/>
            </a:lvl4pPr>
            <a:lvl5pPr lvl="4" rtl="0">
              <a:spcBef>
                <a:spcPts val="0"/>
              </a:spcBef>
              <a:spcAft>
                <a:spcPts val="0"/>
              </a:spcAft>
              <a:buNone/>
              <a:defRPr sz="3998"/>
            </a:lvl5pPr>
            <a:lvl6pPr lvl="5" rtl="0">
              <a:spcBef>
                <a:spcPts val="0"/>
              </a:spcBef>
              <a:spcAft>
                <a:spcPts val="0"/>
              </a:spcAft>
              <a:buNone/>
              <a:defRPr sz="3998"/>
            </a:lvl6pPr>
            <a:lvl7pPr lvl="6" rtl="0">
              <a:spcBef>
                <a:spcPts val="0"/>
              </a:spcBef>
              <a:spcAft>
                <a:spcPts val="0"/>
              </a:spcAft>
              <a:buNone/>
              <a:defRPr sz="3998"/>
            </a:lvl7pPr>
            <a:lvl8pPr lvl="7" rtl="0">
              <a:spcBef>
                <a:spcPts val="0"/>
              </a:spcBef>
              <a:spcAft>
                <a:spcPts val="0"/>
              </a:spcAft>
              <a:buNone/>
              <a:defRPr sz="3998"/>
            </a:lvl8pPr>
            <a:lvl9pPr lvl="8" rtl="0">
              <a:spcBef>
                <a:spcPts val="0"/>
              </a:spcBef>
              <a:spcAft>
                <a:spcPts val="0"/>
              </a:spcAft>
              <a:buNone/>
              <a:defRPr sz="3998"/>
            </a:lvl9pPr>
          </a:lstStyle>
          <a:p>
            <a:endParaRPr/>
          </a:p>
        </p:txBody>
      </p:sp>
      <p:sp>
        <p:nvSpPr>
          <p:cNvPr id="2385" name="Google Shape;2385;p228"/>
          <p:cNvSpPr txBox="1"/>
          <p:nvPr/>
        </p:nvSpPr>
        <p:spPr>
          <a:xfrm>
            <a:off x="22199135" y="13012550"/>
            <a:ext cx="899034" cy="43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752" tIns="91326" rIns="182752" bIns="9132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US" sz="16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t>‹#›</a:t>
            </a:fld>
            <a:endParaRPr sz="16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386" name="Google Shape;2386;p228"/>
          <p:cNvCxnSpPr/>
          <p:nvPr/>
        </p:nvCxnSpPr>
        <p:spPr>
          <a:xfrm>
            <a:off x="23098289" y="13084002"/>
            <a:ext cx="0" cy="3900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2388" name="Google Shape;2388;p228"/>
          <p:cNvCxnSpPr/>
          <p:nvPr/>
        </p:nvCxnSpPr>
        <p:spPr>
          <a:xfrm>
            <a:off x="22199155" y="13084102"/>
            <a:ext cx="0" cy="3900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2389" name="Google Shape;2389;p228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3276163" y="12806081"/>
            <a:ext cx="825503" cy="86195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4289944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Divider Black">
  <p:cSld name="Section Divider Black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oogle Shape;18;p120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" y="0"/>
            <a:ext cx="24383994" cy="13716000"/>
          </a:xfrm>
          <a:prstGeom prst="rect">
            <a:avLst/>
          </a:prstGeom>
          <a:noFill/>
          <a:ln>
            <a:noFill/>
          </a:ln>
        </p:spPr>
      </p:pic>
      <p:sp>
        <p:nvSpPr>
          <p:cNvPr id="19" name="Google Shape;19;p120"/>
          <p:cNvSpPr txBox="1"/>
          <p:nvPr/>
        </p:nvSpPr>
        <p:spPr>
          <a:xfrm>
            <a:off x="22199135" y="13012550"/>
            <a:ext cx="899034" cy="43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02" tIns="91376" rIns="182802" bIns="91376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fld id="{00000000-1234-1234-1234-123412341234}" type="slidenum">
              <a:rPr lang="en-US" sz="16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t>‹#›</a:t>
            </a:fld>
            <a:endParaRPr sz="16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0" name="Google Shape;20;p120"/>
          <p:cNvCxnSpPr/>
          <p:nvPr/>
        </p:nvCxnSpPr>
        <p:spPr>
          <a:xfrm>
            <a:off x="23098289" y="13084002"/>
            <a:ext cx="0" cy="3906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22" name="Google Shape;22;p120"/>
          <p:cNvCxnSpPr/>
          <p:nvPr/>
        </p:nvCxnSpPr>
        <p:spPr>
          <a:xfrm>
            <a:off x="22199155" y="13084102"/>
            <a:ext cx="0" cy="390600"/>
          </a:xfrm>
          <a:prstGeom prst="straightConnector1">
            <a:avLst/>
          </a:prstGeom>
          <a:noFill/>
          <a:ln w="12700" cap="flat" cmpd="sng">
            <a:solidFill>
              <a:srgbClr val="E6E6E6"/>
            </a:solidFill>
            <a:prstDash val="solid"/>
            <a:round/>
            <a:headEnd type="none" w="sm" len="sm"/>
            <a:tailEnd type="none" w="sm" len="sm"/>
          </a:ln>
        </p:spPr>
      </p:cxnSp>
      <p:pic>
        <p:nvPicPr>
          <p:cNvPr id="23" name="Google Shape;23;p120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3276165" y="12806081"/>
            <a:ext cx="826265" cy="86275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4" name="Google Shape;24;p120"/>
          <p:cNvGrpSpPr/>
          <p:nvPr/>
        </p:nvGrpSpPr>
        <p:grpSpPr>
          <a:xfrm>
            <a:off x="1142522" y="264360"/>
            <a:ext cx="99444" cy="1371600"/>
            <a:chOff x="579865" y="-277318"/>
            <a:chExt cx="49722" cy="1798820"/>
          </a:xfrm>
        </p:grpSpPr>
        <p:sp>
          <p:nvSpPr>
            <p:cNvPr id="25" name="Google Shape;25;p120"/>
            <p:cNvSpPr/>
            <p:nvPr/>
          </p:nvSpPr>
          <p:spPr>
            <a:xfrm>
              <a:off x="579865" y="624468"/>
              <a:ext cx="49722" cy="89703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399"/>
                <a:buFont typeface="Arial"/>
                <a:buNone/>
              </a:pPr>
              <a:endParaRPr sz="4796" b="1" i="0" u="none" strike="noStrike" cap="none">
                <a:solidFill>
                  <a:schemeClr val="accent1"/>
                </a:solidFill>
                <a:latin typeface="Arial" panose="020B0604020202020204" pitchFamily="34" charset="0"/>
                <a:ea typeface="Comic Sans MS"/>
                <a:cs typeface="Arial" panose="020B0604020202020204" pitchFamily="34" charset="0"/>
                <a:sym typeface="Comic Sans MS"/>
              </a:endParaRPr>
            </a:p>
          </p:txBody>
        </p:sp>
        <p:sp>
          <p:nvSpPr>
            <p:cNvPr id="26" name="Google Shape;26;p120"/>
            <p:cNvSpPr/>
            <p:nvPr/>
          </p:nvSpPr>
          <p:spPr>
            <a:xfrm>
              <a:off x="579865" y="-277318"/>
              <a:ext cx="49722" cy="89703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399"/>
                <a:buFont typeface="Arial"/>
                <a:buNone/>
              </a:pPr>
              <a:endParaRPr sz="4796" b="1" i="0" u="none" strike="noStrike" cap="none">
                <a:solidFill>
                  <a:schemeClr val="accent1"/>
                </a:solidFill>
                <a:latin typeface="Arial" panose="020B0604020202020204" pitchFamily="34" charset="0"/>
                <a:ea typeface="Comic Sans MS"/>
                <a:cs typeface="Arial" panose="020B0604020202020204" pitchFamily="34" charset="0"/>
                <a:sym typeface="Comic Sans MS"/>
              </a:endParaRPr>
            </a:p>
          </p:txBody>
        </p:sp>
      </p:grpSp>
      <p:sp>
        <p:nvSpPr>
          <p:cNvPr id="27" name="Google Shape;27;p120"/>
          <p:cNvSpPr txBox="1">
            <a:spLocks noGrp="1"/>
          </p:cNvSpPr>
          <p:nvPr>
            <p:ph type="title"/>
          </p:nvPr>
        </p:nvSpPr>
        <p:spPr>
          <a:xfrm>
            <a:off x="1241967" y="731523"/>
            <a:ext cx="22553607" cy="19645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80" tIns="45700" rIns="0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24685750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62608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+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1143001" y="2852928"/>
            <a:ext cx="22091903" cy="82296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lang="en-US" sz="4398" b="1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nter Subhead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143001" y="1207011"/>
            <a:ext cx="22094952" cy="1386098"/>
          </a:xfrm>
          <a:prstGeom prst="rect">
            <a:avLst/>
          </a:prstGeom>
          <a:noFill/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90000"/>
              </a:lnSpc>
              <a:defRPr sz="7198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0E43EEE-C4A7-7240-A6E1-4511D465819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143000" y="3800477"/>
            <a:ext cx="22021799" cy="9077322"/>
          </a:xfrm>
          <a:prstGeom prst="rect">
            <a:avLst/>
          </a:prstGeom>
        </p:spPr>
        <p:txBody>
          <a:bodyPr lIns="0" tIns="274320" rIns="0"/>
          <a:lstStyle>
            <a:lvl1pPr marL="548476" indent="-548476">
              <a:lnSpc>
                <a:spcPct val="110000"/>
              </a:lnSpc>
              <a:spcBef>
                <a:spcPts val="12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sz="3200"/>
            </a:lvl1pPr>
            <a:lvl2pPr marL="1096950" indent="-548476" algn="l">
              <a:lnSpc>
                <a:spcPct val="110000"/>
              </a:lnSpc>
              <a:spcBef>
                <a:spcPts val="12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sz="3200">
                <a:latin typeface="+mn-lt"/>
              </a:defRPr>
            </a:lvl2pPr>
            <a:lvl3pPr marL="1700274" indent="-548476" algn="l">
              <a:lnSpc>
                <a:spcPct val="110000"/>
              </a:lnSpc>
              <a:spcBef>
                <a:spcPts val="12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sz="3200">
                <a:latin typeface="+mn-lt"/>
              </a:defRPr>
            </a:lvl3pPr>
            <a:lvl4pPr marL="2285314" indent="-548476" algn="l">
              <a:lnSpc>
                <a:spcPct val="110000"/>
              </a:lnSpc>
              <a:spcBef>
                <a:spcPts val="120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sz="3200">
                <a:solidFill>
                  <a:schemeClr val="bg1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/>
              <a:t>Click to add primary bullet </a:t>
            </a:r>
          </a:p>
          <a:p>
            <a:pPr lvl="1"/>
            <a:r>
              <a:rPr lang="en-US"/>
              <a:t>Click to add sub-bullet </a:t>
            </a:r>
          </a:p>
          <a:p>
            <a:pPr lvl="2"/>
            <a:r>
              <a:rPr lang="en-US"/>
              <a:t>Click to add sub-bullet </a:t>
            </a:r>
          </a:p>
          <a:p>
            <a:pPr lvl="3"/>
            <a:r>
              <a:rPr lang="en-US"/>
              <a:t>Click to add final sub-bullet </a:t>
            </a:r>
          </a:p>
        </p:txBody>
      </p:sp>
    </p:spTree>
    <p:extLst>
      <p:ext uri="{BB962C8B-B14F-4D97-AF65-F5344CB8AC3E}">
        <p14:creationId xmlns:p14="http://schemas.microsoft.com/office/powerpoint/2010/main" val="3346857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, Subhead ">
  <p:cSld name="1_Title, Subhead "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Google Shape;27;p58"/>
          <p:cNvSpPr txBox="1">
            <a:spLocks noGrp="1"/>
          </p:cNvSpPr>
          <p:nvPr>
            <p:ph type="body" idx="1"/>
          </p:nvPr>
        </p:nvSpPr>
        <p:spPr>
          <a:xfrm>
            <a:off x="1219215" y="13145026"/>
            <a:ext cx="16312446" cy="2974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rmAutofit/>
          </a:bodyPr>
          <a:lstStyle>
            <a:lvl1pPr marL="914126" lvl="0" indent="-45706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1864" b="0">
                <a:solidFill>
                  <a:schemeClr val="lt2"/>
                </a:solidFill>
              </a:defRPr>
            </a:lvl1pPr>
            <a:lvl2pPr marL="1828252" lvl="1" indent="-685594" algn="l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800"/>
              <a:buChar char="•"/>
              <a:defRPr/>
            </a:lvl2pPr>
            <a:lvl3pPr marL="2742378" lvl="2" indent="-685594" algn="l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800"/>
              <a:buChar char="–"/>
              <a:defRPr/>
            </a:lvl3pPr>
            <a:lvl4pPr marL="3656502" lvl="3" indent="-660202" algn="l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Char char="•"/>
              <a:defRPr/>
            </a:lvl4pPr>
            <a:lvl5pPr marL="4570628" lvl="4" indent="-660202" algn="l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Char char="•"/>
              <a:defRPr/>
            </a:lvl5pPr>
            <a:lvl6pPr marL="5484754" lvl="5" indent="-660202" algn="l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Char char="•"/>
              <a:defRPr/>
            </a:lvl6pPr>
            <a:lvl7pPr marL="6398880" lvl="6" indent="-660202" algn="l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Char char="•"/>
              <a:defRPr/>
            </a:lvl7pPr>
            <a:lvl8pPr marL="7313006" lvl="7" indent="-660202" algn="l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Char char="•"/>
              <a:defRPr/>
            </a:lvl8pPr>
            <a:lvl9pPr marL="8227132" lvl="8" indent="-660202" algn="l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Char char="•"/>
              <a:defRPr/>
            </a:lvl9pPr>
          </a:lstStyle>
          <a:p>
            <a:endParaRPr/>
          </a:p>
        </p:txBody>
      </p:sp>
      <p:sp>
        <p:nvSpPr>
          <p:cNvPr id="28" name="Google Shape;28;p58"/>
          <p:cNvSpPr txBox="1">
            <a:spLocks noGrp="1"/>
          </p:cNvSpPr>
          <p:nvPr>
            <p:ph type="body" idx="2"/>
          </p:nvPr>
        </p:nvSpPr>
        <p:spPr>
          <a:xfrm>
            <a:off x="1219202" y="2128782"/>
            <a:ext cx="21726648" cy="7043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914126" lvl="0" indent="-45706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b="0">
                <a:solidFill>
                  <a:schemeClr val="accent3"/>
                </a:solidFill>
              </a:defRPr>
            </a:lvl1pPr>
            <a:lvl2pPr marL="1828252" lvl="1" indent="-685594" algn="l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800"/>
              <a:buChar char="•"/>
              <a:defRPr/>
            </a:lvl2pPr>
            <a:lvl3pPr marL="2742378" lvl="2" indent="-685594" algn="l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800"/>
              <a:buChar char="–"/>
              <a:defRPr/>
            </a:lvl3pPr>
            <a:lvl4pPr marL="3656502" lvl="3" indent="-660202" algn="l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Char char="•"/>
              <a:defRPr/>
            </a:lvl4pPr>
            <a:lvl5pPr marL="4570628" lvl="4" indent="-660202" algn="l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Char char="•"/>
              <a:defRPr/>
            </a:lvl5pPr>
            <a:lvl6pPr marL="5484754" lvl="5" indent="-660202" algn="l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Char char="•"/>
              <a:defRPr/>
            </a:lvl6pPr>
            <a:lvl7pPr marL="6398880" lvl="6" indent="-660202" algn="l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Char char="•"/>
              <a:defRPr/>
            </a:lvl7pPr>
            <a:lvl8pPr marL="7313006" lvl="7" indent="-660202" algn="l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Char char="•"/>
              <a:defRPr/>
            </a:lvl8pPr>
            <a:lvl9pPr marL="8227132" lvl="8" indent="-660202" algn="l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Char char="•"/>
              <a:defRPr/>
            </a:lvl9pPr>
          </a:lstStyle>
          <a:p>
            <a:endParaRPr/>
          </a:p>
        </p:txBody>
      </p:sp>
      <p:sp>
        <p:nvSpPr>
          <p:cNvPr id="29" name="Google Shape;29;p58"/>
          <p:cNvSpPr txBox="1">
            <a:spLocks noGrp="1"/>
          </p:cNvSpPr>
          <p:nvPr>
            <p:ph type="title"/>
          </p:nvPr>
        </p:nvSpPr>
        <p:spPr>
          <a:xfrm>
            <a:off x="1219203" y="1086678"/>
            <a:ext cx="21726650" cy="8746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871075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Shape 8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0" name="Shape 870"/>
          <p:cNvSpPr txBox="1">
            <a:spLocks noGrp="1"/>
          </p:cNvSpPr>
          <p:nvPr>
            <p:ph type="body" idx="1"/>
          </p:nvPr>
        </p:nvSpPr>
        <p:spPr>
          <a:xfrm>
            <a:off x="1240368" y="3937589"/>
            <a:ext cx="21945601" cy="859843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spcBef>
                <a:spcPts val="3198"/>
              </a:spcBef>
              <a:buClr>
                <a:schemeClr val="accent1"/>
              </a:buClr>
              <a:buFont typeface="Arial"/>
              <a:buNone/>
              <a:defRPr sz="6392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2410" marR="0" lvl="1" indent="-80334" algn="l" rtl="0">
              <a:spcBef>
                <a:spcPts val="1598"/>
              </a:spcBef>
              <a:buClr>
                <a:schemeClr val="dk1"/>
              </a:buClr>
              <a:buSzPct val="100000"/>
              <a:buFont typeface="Noto Sans Symbols"/>
              <a:buChar char="▪"/>
              <a:defRPr sz="586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730624" marR="0" lvl="2" indent="-54120" algn="l" rtl="0">
              <a:spcBef>
                <a:spcPts val="1598"/>
              </a:spcBef>
              <a:buClr>
                <a:schemeClr val="dk2"/>
              </a:buClr>
              <a:buSzPct val="100000"/>
              <a:buFont typeface="Merriweather Sans"/>
              <a:buChar char="–"/>
              <a:defRPr sz="5326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095938" marR="0" lvl="3" indent="-81180" algn="l" rtl="0">
              <a:spcBef>
                <a:spcPts val="1598"/>
              </a:spcBef>
              <a:buClr>
                <a:schemeClr val="dk2"/>
              </a:buClr>
              <a:buSzPct val="100000"/>
              <a:buFont typeface="Arial"/>
              <a:buChar char="•"/>
              <a:defRPr sz="4794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461248" marR="0" lvl="4" indent="-192804" algn="l" rtl="0">
              <a:spcBef>
                <a:spcPts val="1598"/>
              </a:spcBef>
              <a:buClr>
                <a:schemeClr val="dk2"/>
              </a:buClr>
              <a:buSzPct val="100000"/>
              <a:buFont typeface="Merriweather Sans"/>
              <a:buChar char="-"/>
              <a:defRPr sz="293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6697388" marR="0" lvl="5" indent="-270600" algn="l" rtl="0">
              <a:spcBef>
                <a:spcPts val="1066"/>
              </a:spcBef>
              <a:buClr>
                <a:schemeClr val="dk1"/>
              </a:buClr>
              <a:buSzPct val="100000"/>
              <a:buFont typeface="Arial"/>
              <a:buChar char="•"/>
              <a:defRPr sz="532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7915094" marR="0" lvl="6" indent="-270600" algn="l" rtl="0">
              <a:spcBef>
                <a:spcPts val="1066"/>
              </a:spcBef>
              <a:buClr>
                <a:schemeClr val="dk1"/>
              </a:buClr>
              <a:buSzPct val="100000"/>
              <a:buFont typeface="Arial"/>
              <a:buChar char="•"/>
              <a:defRPr sz="532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9132802" marR="0" lvl="7" indent="-270600" algn="l" rtl="0">
              <a:spcBef>
                <a:spcPts val="1066"/>
              </a:spcBef>
              <a:buClr>
                <a:schemeClr val="dk1"/>
              </a:buClr>
              <a:buSzPct val="100000"/>
              <a:buFont typeface="Arial"/>
              <a:buChar char="•"/>
              <a:defRPr sz="532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10350508" marR="0" lvl="8" indent="-270600" algn="l" rtl="0">
              <a:spcBef>
                <a:spcPts val="1066"/>
              </a:spcBef>
              <a:buClr>
                <a:schemeClr val="dk1"/>
              </a:buClr>
              <a:buSzPct val="100000"/>
              <a:buFont typeface="Arial"/>
              <a:buChar char="•"/>
              <a:defRPr sz="532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871" name="Shape 871"/>
          <p:cNvSpPr txBox="1">
            <a:spLocks noGrp="1"/>
          </p:cNvSpPr>
          <p:nvPr>
            <p:ph type="title"/>
          </p:nvPr>
        </p:nvSpPr>
        <p:spPr>
          <a:xfrm>
            <a:off x="1219201" y="762003"/>
            <a:ext cx="21742400" cy="761694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ctr" rtl="0">
              <a:spcBef>
                <a:spcPts val="0"/>
              </a:spcBef>
              <a:buClr>
                <a:schemeClr val="accent1"/>
              </a:buClr>
              <a:buFont typeface="Arial"/>
              <a:buNone/>
              <a:defRPr sz="4794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 rtl="0">
              <a:spcBef>
                <a:spcPts val="0"/>
              </a:spcBef>
              <a:buNone/>
              <a:defRPr sz="4794"/>
            </a:lvl2pPr>
            <a:lvl3pPr lvl="2" indent="0" rtl="0">
              <a:spcBef>
                <a:spcPts val="0"/>
              </a:spcBef>
              <a:buNone/>
              <a:defRPr sz="4794"/>
            </a:lvl3pPr>
            <a:lvl4pPr lvl="3" indent="0" rtl="0">
              <a:spcBef>
                <a:spcPts val="0"/>
              </a:spcBef>
              <a:buNone/>
              <a:defRPr sz="4794"/>
            </a:lvl4pPr>
            <a:lvl5pPr lvl="4" indent="0" rtl="0">
              <a:spcBef>
                <a:spcPts val="0"/>
              </a:spcBef>
              <a:buNone/>
              <a:defRPr sz="4794"/>
            </a:lvl5pPr>
            <a:lvl6pPr lvl="5" indent="0" rtl="0">
              <a:spcBef>
                <a:spcPts val="0"/>
              </a:spcBef>
              <a:buNone/>
              <a:defRPr sz="4794"/>
            </a:lvl6pPr>
            <a:lvl7pPr lvl="6" indent="0" rtl="0">
              <a:spcBef>
                <a:spcPts val="0"/>
              </a:spcBef>
              <a:buNone/>
              <a:defRPr sz="4794"/>
            </a:lvl7pPr>
            <a:lvl8pPr lvl="7" indent="0" rtl="0">
              <a:spcBef>
                <a:spcPts val="0"/>
              </a:spcBef>
              <a:buNone/>
              <a:defRPr sz="4794"/>
            </a:lvl8pPr>
            <a:lvl9pPr lvl="8" indent="0" rtl="0">
              <a:spcBef>
                <a:spcPts val="0"/>
              </a:spcBef>
              <a:buNone/>
              <a:defRPr sz="4794"/>
            </a:lvl9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76759596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9780297" y="1585467"/>
            <a:ext cx="4823408" cy="4824038"/>
          </a:xfrm>
          <a:prstGeom prst="ellipse">
            <a:avLst/>
          </a:prstGeom>
        </p:spPr>
        <p:txBody>
          <a:bodyPr/>
          <a:lstStyle>
            <a:lvl1pPr algn="ctr">
              <a:defRPr sz="2000" baseline="0"/>
            </a:lvl1pPr>
          </a:lstStyle>
          <a:p>
            <a:r>
              <a:rPr lang="en-US"/>
              <a:t>Click Icon to Change Photo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758472" y="6809613"/>
            <a:ext cx="14867062" cy="1190422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7998" b="0" i="0">
                <a:latin typeface="+mj-lt"/>
              </a:defRPr>
            </a:lvl1pPr>
          </a:lstStyle>
          <a:p>
            <a:endParaRPr lang="en-US">
              <a:solidFill>
                <a:schemeClr val="bg2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3657601" y="8638230"/>
            <a:ext cx="17068801" cy="279056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0" i="0">
                <a:latin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8547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Subhea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 2">
            <a:extLst>
              <a:ext uri="{FF2B5EF4-FFF2-40B4-BE49-F238E27FC236}">
                <a16:creationId xmlns:a16="http://schemas.microsoft.com/office/drawing/2014/main" id="{A5766A29-D61B-D14D-ACC0-E0DF3E6CD04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684296" y="1754986"/>
            <a:ext cx="21030325" cy="841396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3596" b="0" i="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Title 5">
            <a:extLst>
              <a:ext uri="{FF2B5EF4-FFF2-40B4-BE49-F238E27FC236}">
                <a16:creationId xmlns:a16="http://schemas.microsoft.com/office/drawing/2014/main" id="{B2998507-7068-2046-96F4-AB1487FB2A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98619" y="599620"/>
            <a:ext cx="21030327" cy="970996"/>
          </a:xfrm>
          <a:prstGeom prst="rect">
            <a:avLst/>
          </a:prstGeom>
        </p:spPr>
        <p:txBody>
          <a:bodyPr/>
          <a:lstStyle>
            <a:lvl1pPr algn="ctr">
              <a:defRPr sz="6396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83457774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ver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0505409">
            <a:off x="-2497290" y="464438"/>
            <a:ext cx="22317112" cy="6472204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742934" y="382206"/>
            <a:ext cx="4247628" cy="14176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579953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1219203" y="7489932"/>
            <a:ext cx="13031186" cy="7043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spcBef>
                <a:spcPts val="0"/>
              </a:spcBef>
              <a:defRPr lang="en-US" sz="4800" b="1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nter Subhead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219204" y="6103833"/>
            <a:ext cx="13031188" cy="1386098"/>
          </a:xfrm>
          <a:prstGeom prst="rect">
            <a:avLst/>
          </a:prstGeom>
          <a:noFill/>
        </p:spPr>
        <p:txBody>
          <a:bodyPr lIns="0" tIns="0" rIns="0" bIns="0" anchor="b" anchorCtr="0">
            <a:normAutofit/>
          </a:bodyPr>
          <a:lstStyle>
            <a:lvl1pPr algn="l">
              <a:defRPr b="1"/>
            </a:lvl1pPr>
          </a:lstStyle>
          <a:p>
            <a:pPr lvl="0"/>
            <a:r>
              <a:rPr lang="en-US" dirty="0"/>
              <a:t>Click to Add Agenda Titl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23DEAD3-6142-E646-93DB-ADB88C19C062}"/>
              </a:ext>
            </a:extLst>
          </p:cNvPr>
          <p:cNvCxnSpPr>
            <a:cxnSpLocks/>
          </p:cNvCxnSpPr>
          <p:nvPr userDrawn="1"/>
        </p:nvCxnSpPr>
        <p:spPr>
          <a:xfrm flipV="1">
            <a:off x="15213694" y="3"/>
            <a:ext cx="0" cy="13715998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Oval 4">
            <a:extLst>
              <a:ext uri="{FF2B5EF4-FFF2-40B4-BE49-F238E27FC236}">
                <a16:creationId xmlns:a16="http://schemas.microsoft.com/office/drawing/2014/main" id="{A83AA21F-D0BC-E14C-8C7A-F8E1FAB18381}"/>
              </a:ext>
            </a:extLst>
          </p:cNvPr>
          <p:cNvSpPr/>
          <p:nvPr userDrawn="1"/>
        </p:nvSpPr>
        <p:spPr>
          <a:xfrm>
            <a:off x="15044513" y="5701809"/>
            <a:ext cx="338362" cy="338362"/>
          </a:xfrm>
          <a:prstGeom prst="ellipse">
            <a:avLst/>
          </a:prstGeom>
          <a:solidFill>
            <a:srgbClr val="6EBE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AB04777B-AA82-8644-8B89-DDFB49F4A703}"/>
              </a:ext>
            </a:extLst>
          </p:cNvPr>
          <p:cNvSpPr/>
          <p:nvPr userDrawn="1"/>
        </p:nvSpPr>
        <p:spPr>
          <a:xfrm>
            <a:off x="15044513" y="7220521"/>
            <a:ext cx="338362" cy="338362"/>
          </a:xfrm>
          <a:prstGeom prst="ellipse">
            <a:avLst/>
          </a:prstGeom>
          <a:solidFill>
            <a:srgbClr val="6EBE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10F1E4EC-075C-4A49-B490-4D4454B0C82D}"/>
              </a:ext>
            </a:extLst>
          </p:cNvPr>
          <p:cNvSpPr/>
          <p:nvPr userDrawn="1"/>
        </p:nvSpPr>
        <p:spPr>
          <a:xfrm>
            <a:off x="15044513" y="8692659"/>
            <a:ext cx="338362" cy="338362"/>
          </a:xfrm>
          <a:prstGeom prst="ellipse">
            <a:avLst/>
          </a:prstGeom>
          <a:solidFill>
            <a:srgbClr val="6EBE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328B1C6-0245-6A43-854E-C22E382963D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933157" y="5299960"/>
            <a:ext cx="6784598" cy="1142056"/>
          </a:xfrm>
          <a:prstGeom prst="rect">
            <a:avLst/>
          </a:prstGeom>
        </p:spPr>
        <p:txBody>
          <a:bodyPr/>
          <a:lstStyle>
            <a:lvl1pPr>
              <a:defRPr sz="40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agenda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36ACBA4-3065-CA45-A8E4-471FE8BD2E7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5933157" y="6795384"/>
            <a:ext cx="6784598" cy="1142056"/>
          </a:xfrm>
          <a:prstGeom prst="rect">
            <a:avLst/>
          </a:prstGeom>
        </p:spPr>
        <p:txBody>
          <a:bodyPr/>
          <a:lstStyle>
            <a:lvl1pPr>
              <a:defRPr sz="40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agenda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033807A0-859D-A441-A369-8E96EF1A3E0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5933155" y="8290810"/>
            <a:ext cx="6784598" cy="1142056"/>
          </a:xfrm>
          <a:prstGeom prst="rect">
            <a:avLst/>
          </a:prstGeom>
        </p:spPr>
        <p:txBody>
          <a:bodyPr/>
          <a:lstStyle>
            <a:lvl1pPr>
              <a:defRPr sz="40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agenda</a:t>
            </a:r>
          </a:p>
        </p:txBody>
      </p:sp>
    </p:spTree>
    <p:extLst>
      <p:ext uri="{BB962C8B-B14F-4D97-AF65-F5344CB8AC3E}">
        <p14:creationId xmlns:p14="http://schemas.microsoft.com/office/powerpoint/2010/main" val="3482897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Photo Al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F3504E75-EBD0-3A4A-B751-8BC843BFE3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16282" y="1163785"/>
            <a:ext cx="9975272" cy="686393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defRPr b="1"/>
            </a:lvl1pPr>
          </a:lstStyle>
          <a:p>
            <a:endParaRPr lang="en-US" dirty="0">
              <a:solidFill>
                <a:schemeClr val="bg2"/>
              </a:solidFill>
            </a:endParaRP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007D54C4-2097-E74C-8B31-EDB627F2525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116280" y="8351451"/>
            <a:ext cx="9975272" cy="4200766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algn="l">
              <a:spcBef>
                <a:spcPts val="0"/>
              </a:spcBef>
              <a:defRPr lang="en-US" sz="4800" b="1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nter Subhead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004A968F-6AE3-CA48-9F26-361CE66BD13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2421592" y="1165227"/>
            <a:ext cx="10781308" cy="113855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66538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1219202" y="2128782"/>
            <a:ext cx="21726648" cy="7043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spcBef>
                <a:spcPts val="0"/>
              </a:spcBef>
              <a:defRPr lang="en-US" sz="4800" b="1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nter Subhead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219203" y="742683"/>
            <a:ext cx="21726650" cy="1386098"/>
          </a:xfrm>
          <a:prstGeom prst="rect">
            <a:avLst/>
          </a:prstGeom>
          <a:noFill/>
        </p:spPr>
        <p:txBody>
          <a:bodyPr lIns="0" tIns="0" rIns="0" bIns="0" anchor="t" anchorCtr="0">
            <a:normAutofit/>
          </a:bodyPr>
          <a:lstStyle>
            <a:lvl1pPr algn="l">
              <a:defRPr b="1"/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0E43EEE-C4A7-7240-A6E1-4511D465819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109730" y="3478282"/>
            <a:ext cx="21836120" cy="9064624"/>
          </a:xfrm>
          <a:prstGeom prst="rect">
            <a:avLst/>
          </a:prstGeom>
        </p:spPr>
        <p:txBody>
          <a:bodyPr lIns="182880" tIns="182880"/>
          <a:lstStyle>
            <a:lvl1pPr marL="571500" indent="-571500">
              <a:buClr>
                <a:schemeClr val="bg1"/>
              </a:buClr>
              <a:buFont typeface="Arial" panose="020B0604020202020204" pitchFamily="34" charset="0"/>
              <a:buChar char="•"/>
              <a:defRPr/>
            </a:lvl1pPr>
            <a:lvl2pPr marL="1658510" indent="-571500" algn="l">
              <a:buClr>
                <a:schemeClr val="bg1"/>
              </a:buClr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2745518" indent="-571500" algn="l">
              <a:buClr>
                <a:schemeClr val="bg1"/>
              </a:buClr>
              <a:buFont typeface="Wingdings" pitchFamily="2" charset="2"/>
              <a:buChar char="§"/>
              <a:defRPr>
                <a:latin typeface="+mn-lt"/>
              </a:defRPr>
            </a:lvl3pPr>
            <a:lvl4pPr marL="3832534" indent="-571500" algn="l">
              <a:buClr>
                <a:schemeClr val="bg1"/>
              </a:buClr>
              <a:buFont typeface="Wingdings" pitchFamily="2" charset="2"/>
              <a:buChar char="ü"/>
              <a:defRPr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355463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ullets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1219202" y="2128782"/>
            <a:ext cx="9789992" cy="7043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spcBef>
                <a:spcPts val="0"/>
              </a:spcBef>
              <a:defRPr lang="en-US" sz="4800" b="1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nter Subhead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219204" y="742683"/>
            <a:ext cx="9789992" cy="1386098"/>
          </a:xfrm>
          <a:prstGeom prst="rect">
            <a:avLst/>
          </a:prstGeom>
          <a:noFill/>
        </p:spPr>
        <p:txBody>
          <a:bodyPr lIns="0" tIns="0" rIns="0" bIns="0" anchor="t" anchorCtr="0">
            <a:normAutofit/>
          </a:bodyPr>
          <a:lstStyle>
            <a:lvl1pPr algn="l">
              <a:defRPr b="1"/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0E43EEE-C4A7-7240-A6E1-4511D465819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109730" y="3478282"/>
            <a:ext cx="9839320" cy="9064624"/>
          </a:xfrm>
          <a:prstGeom prst="rect">
            <a:avLst/>
          </a:prstGeom>
        </p:spPr>
        <p:txBody>
          <a:bodyPr lIns="182880" tIns="182880"/>
          <a:lstStyle>
            <a:lvl1pPr marL="571500" indent="-571500">
              <a:buClr>
                <a:schemeClr val="bg1"/>
              </a:buClr>
              <a:buFont typeface="Arial" panose="020B0604020202020204" pitchFamily="34" charset="0"/>
              <a:buChar char="•"/>
              <a:defRPr/>
            </a:lvl1pPr>
            <a:lvl2pPr marL="1658510" indent="-571500" algn="l">
              <a:buClr>
                <a:schemeClr val="bg1"/>
              </a:buClr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2745518" indent="-571500" algn="l">
              <a:buClr>
                <a:schemeClr val="bg1"/>
              </a:buClr>
              <a:buFont typeface="Wingdings" pitchFamily="2" charset="2"/>
              <a:buChar char="§"/>
              <a:defRPr>
                <a:latin typeface="+mn-lt"/>
              </a:defRPr>
            </a:lvl3pPr>
            <a:lvl4pPr marL="3832534" indent="-571500" algn="l">
              <a:buClr>
                <a:schemeClr val="bg1"/>
              </a:buClr>
              <a:buFont typeface="Wingdings" pitchFamily="2" charset="2"/>
              <a:buChar char="ü"/>
              <a:defRPr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E9B51484-8DF2-F04F-9C8F-9B61261E069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2421592" y="1165227"/>
            <a:ext cx="10781308" cy="113855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4611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Bullets &amp; Ecosyst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LEGO, toy&#10;&#10;Description automatically generated">
            <a:extLst>
              <a:ext uri="{FF2B5EF4-FFF2-40B4-BE49-F238E27FC236}">
                <a16:creationId xmlns:a16="http://schemas.microsoft.com/office/drawing/2014/main" id="{96DB894D-73E2-FA4C-B1F8-F6A11955BE9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14264" y="546264"/>
            <a:ext cx="13169736" cy="13169736"/>
          </a:xfrm>
          <a:prstGeom prst="rect">
            <a:avLst/>
          </a:prstGeom>
        </p:spPr>
      </p:pic>
      <p:sp>
        <p:nvSpPr>
          <p:cNvPr id="12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1219202" y="2128782"/>
            <a:ext cx="9789992" cy="7043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l">
              <a:spcBef>
                <a:spcPts val="0"/>
              </a:spcBef>
              <a:defRPr lang="en-US" sz="4800" b="1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nter Subhead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219204" y="742683"/>
            <a:ext cx="9789992" cy="1386098"/>
          </a:xfrm>
          <a:prstGeom prst="rect">
            <a:avLst/>
          </a:prstGeom>
          <a:noFill/>
        </p:spPr>
        <p:txBody>
          <a:bodyPr lIns="0" tIns="0" rIns="0" bIns="0" anchor="t" anchorCtr="0">
            <a:normAutofit/>
          </a:bodyPr>
          <a:lstStyle>
            <a:lvl1pPr algn="l">
              <a:defRPr b="1"/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0E43EEE-C4A7-7240-A6E1-4511D465819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109730" y="3478282"/>
            <a:ext cx="9839320" cy="9064624"/>
          </a:xfrm>
          <a:prstGeom prst="rect">
            <a:avLst/>
          </a:prstGeom>
        </p:spPr>
        <p:txBody>
          <a:bodyPr lIns="182880" tIns="182880"/>
          <a:lstStyle>
            <a:lvl1pPr marL="571500" indent="-571500">
              <a:buClr>
                <a:schemeClr val="bg1"/>
              </a:buClr>
              <a:buFont typeface="Arial" panose="020B0604020202020204" pitchFamily="34" charset="0"/>
              <a:buChar char="•"/>
              <a:defRPr/>
            </a:lvl1pPr>
            <a:lvl2pPr marL="1658510" indent="-571500" algn="l">
              <a:buClr>
                <a:schemeClr val="bg1"/>
              </a:buClr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2745518" indent="-571500" algn="l">
              <a:buClr>
                <a:schemeClr val="bg1"/>
              </a:buClr>
              <a:buFont typeface="Wingdings" pitchFamily="2" charset="2"/>
              <a:buChar char="§"/>
              <a:defRPr>
                <a:latin typeface="+mn-lt"/>
              </a:defRPr>
            </a:lvl3pPr>
            <a:lvl4pPr marL="3832534" indent="-571500" algn="l">
              <a:buClr>
                <a:schemeClr val="bg1"/>
              </a:buClr>
              <a:buFont typeface="Wingdings" pitchFamily="2" charset="2"/>
              <a:buChar char="ü"/>
              <a:defRPr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FE352A7-DC00-E54E-BA99-398E099C1AB6}"/>
              </a:ext>
            </a:extLst>
          </p:cNvPr>
          <p:cNvSpPr/>
          <p:nvPr userDrawn="1"/>
        </p:nvSpPr>
        <p:spPr>
          <a:xfrm>
            <a:off x="10212780" y="3206339"/>
            <a:ext cx="2375064" cy="10212778"/>
          </a:xfrm>
          <a:prstGeom prst="rect">
            <a:avLst/>
          </a:prstGeom>
          <a:gradFill>
            <a:gsLst>
              <a:gs pos="0">
                <a:schemeClr val="tx1"/>
              </a:gs>
              <a:gs pos="100000">
                <a:schemeClr val="tx1">
                  <a:alpha val="0"/>
                </a:scheme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 dirty="0">
              <a:latin typeface="Open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2086056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scriptor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0E43EEE-C4A7-7240-A6E1-4511D465819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852550" y="3478281"/>
            <a:ext cx="9096500" cy="5113702"/>
          </a:xfrm>
          <a:prstGeom prst="rect">
            <a:avLst/>
          </a:prstGeom>
        </p:spPr>
        <p:txBody>
          <a:bodyPr lIns="182880" tIns="182880"/>
          <a:lstStyle>
            <a:lvl1pPr marL="0" indent="0">
              <a:buClr>
                <a:schemeClr val="bg1"/>
              </a:buClr>
              <a:buFont typeface="Arial" panose="020B0604020202020204" pitchFamily="34" charset="0"/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1087010" indent="0" algn="l">
              <a:buClr>
                <a:schemeClr val="bg1"/>
              </a:buClr>
              <a:buFont typeface="Arial" panose="020B0604020202020204" pitchFamily="34" charset="0"/>
              <a:buNone/>
              <a:defRPr>
                <a:latin typeface="+mn-lt"/>
              </a:defRPr>
            </a:lvl2pPr>
            <a:lvl3pPr marL="2174018" indent="0" algn="l">
              <a:buClr>
                <a:schemeClr val="bg1"/>
              </a:buClr>
              <a:buFont typeface="Wingdings" pitchFamily="2" charset="2"/>
              <a:buNone/>
              <a:defRPr>
                <a:latin typeface="+mn-lt"/>
              </a:defRPr>
            </a:lvl3pPr>
            <a:lvl4pPr marL="3261034" indent="0" algn="l">
              <a:buClr>
                <a:schemeClr val="bg1"/>
              </a:buClr>
              <a:buFont typeface="Wingdings" pitchFamily="2" charset="2"/>
              <a:buNone/>
              <a:defRPr>
                <a:solidFill>
                  <a:schemeClr val="bg2"/>
                </a:solidFill>
                <a:latin typeface="+mn-lt"/>
              </a:defRPr>
            </a:lvl4pPr>
            <a:lvl5pPr algn="l"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body copy. Callouts are in green.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E9B51484-8DF2-F04F-9C8F-9B61261E069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2421591" y="1"/>
            <a:ext cx="11929498" cy="1371599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pic>
        <p:nvPicPr>
          <p:cNvPr id="7" name="Picture 6" descr="A picture containing light, dark&#10;&#10;Description automatically generated">
            <a:extLst>
              <a:ext uri="{FF2B5EF4-FFF2-40B4-BE49-F238E27FC236}">
                <a16:creationId xmlns:a16="http://schemas.microsoft.com/office/drawing/2014/main" id="{C1A6E606-9EFF-0245-B766-158F52F280A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/>
          </a:blip>
          <a:srcRect r="45122"/>
          <a:stretch/>
        </p:blipFill>
        <p:spPr>
          <a:xfrm rot="16200000">
            <a:off x="2509481" y="-1558554"/>
            <a:ext cx="1918650" cy="5035756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4DEC73E-C656-7B44-A619-B69C011354A2}"/>
              </a:ext>
            </a:extLst>
          </p:cNvPr>
          <p:cNvCxnSpPr>
            <a:cxnSpLocks/>
          </p:cNvCxnSpPr>
          <p:nvPr userDrawn="1"/>
        </p:nvCxnSpPr>
        <p:spPr>
          <a:xfrm>
            <a:off x="32910" y="9283146"/>
            <a:ext cx="9170724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F58B3C68-C7CB-7C41-B766-350710EF2F6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852550" y="9811000"/>
            <a:ext cx="7351084" cy="1142056"/>
          </a:xfrm>
          <a:prstGeom prst="rect">
            <a:avLst/>
          </a:prstGeom>
        </p:spPr>
        <p:txBody>
          <a:bodyPr/>
          <a:lstStyle>
            <a:lvl1pPr>
              <a:defRPr sz="4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ct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893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- With Present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AFBEA83-D9A3-3C43-95BE-CF8EF01CB386}"/>
              </a:ext>
            </a:extLst>
          </p:cNvPr>
          <p:cNvSpPr/>
          <p:nvPr userDrawn="1"/>
        </p:nvSpPr>
        <p:spPr>
          <a:xfrm>
            <a:off x="2583954" y="5835769"/>
            <a:ext cx="14626808" cy="2044462"/>
          </a:xfrm>
          <a:prstGeom prst="rect">
            <a:avLst/>
          </a:prstGeom>
          <a:solidFill>
            <a:schemeClr val="tx1">
              <a:alpha val="45000"/>
            </a:schemeClr>
          </a:solidFill>
          <a:ln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 dirty="0">
              <a:latin typeface="Open Sans Light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583954" y="5835769"/>
            <a:ext cx="14626808" cy="2044462"/>
          </a:xfrm>
          <a:prstGeom prst="rect">
            <a:avLst/>
          </a:prstGeom>
          <a:noFill/>
          <a:ln w="22225">
            <a:noFill/>
          </a:ln>
        </p:spPr>
        <p:txBody>
          <a:bodyPr lIns="274320" tIns="91440" bIns="182880" anchor="ctr" anchorCtr="0">
            <a:noAutofit/>
          </a:bodyPr>
          <a:lstStyle>
            <a:lvl1pPr algn="l">
              <a:lnSpc>
                <a:spcPct val="100000"/>
              </a:lnSpc>
              <a:spcBef>
                <a:spcPts val="400"/>
              </a:spcBef>
              <a:defRPr sz="6400" b="1" i="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Add Section Title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01806423-16CD-A949-9173-AE4FA50FD0DC}"/>
              </a:ext>
            </a:extLst>
          </p:cNvPr>
          <p:cNvSpPr/>
          <p:nvPr userDrawn="1"/>
        </p:nvSpPr>
        <p:spPr>
          <a:xfrm>
            <a:off x="2364249" y="6641418"/>
            <a:ext cx="439410" cy="433164"/>
          </a:xfrm>
          <a:prstGeom prst="ellipse">
            <a:avLst/>
          </a:prstGeom>
          <a:solidFill>
            <a:srgbClr val="6EBE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3600" dirty="0"/>
          </a:p>
        </p:txBody>
      </p:sp>
      <p:pic>
        <p:nvPicPr>
          <p:cNvPr id="6" name="Picture 5" descr="Text&#10;&#10;Description automatically generated">
            <a:extLst>
              <a:ext uri="{FF2B5EF4-FFF2-40B4-BE49-F238E27FC236}">
                <a16:creationId xmlns:a16="http://schemas.microsoft.com/office/drawing/2014/main" id="{B1FBA909-3168-DF47-9A97-CFC40395403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9161895" y="11760994"/>
            <a:ext cx="4510114" cy="1505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10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 - With Present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light, dark&#10;&#10;Description automatically generated">
            <a:extLst>
              <a:ext uri="{FF2B5EF4-FFF2-40B4-BE49-F238E27FC236}">
                <a16:creationId xmlns:a16="http://schemas.microsoft.com/office/drawing/2014/main" id="{601705EE-3AC9-BA4C-87A5-636E68E05C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70000"/>
          </a:blip>
          <a:srcRect l="19978" t="2" b="74"/>
          <a:stretch/>
        </p:blipFill>
        <p:spPr>
          <a:xfrm rot="10800000">
            <a:off x="3574844" y="2154979"/>
            <a:ext cx="3802396" cy="683913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1FF4FF90-20B5-464B-A13A-4A8881486DBD}"/>
              </a:ext>
            </a:extLst>
          </p:cNvPr>
          <p:cNvSpPr/>
          <p:nvPr userDrawn="1"/>
        </p:nvSpPr>
        <p:spPr>
          <a:xfrm>
            <a:off x="6437723" y="4280707"/>
            <a:ext cx="12247842" cy="5168346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93738742-7B61-D84F-AEF2-78701E62EBF8}"/>
              </a:ext>
            </a:extLst>
          </p:cNvPr>
          <p:cNvSpPr/>
          <p:nvPr userDrawn="1"/>
        </p:nvSpPr>
        <p:spPr>
          <a:xfrm>
            <a:off x="6937831" y="8479808"/>
            <a:ext cx="439410" cy="433164"/>
          </a:xfrm>
          <a:prstGeom prst="ellipse">
            <a:avLst/>
          </a:prstGeom>
          <a:solidFill>
            <a:srgbClr val="6EBE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EB32FE2B-F476-A143-9A3A-F29E0CF3B4A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285813" y="6769097"/>
            <a:ext cx="10022066" cy="2143874"/>
          </a:xfrm>
          <a:prstGeom prst="rect">
            <a:avLst/>
          </a:prstGeom>
        </p:spPr>
        <p:txBody>
          <a:bodyPr/>
          <a:lstStyle>
            <a:lvl1pPr>
              <a:defRPr sz="32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add body copy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51B5346-59BF-4648-AA8F-DBE845B7E1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48346" y="4916383"/>
            <a:ext cx="13259532" cy="1458826"/>
          </a:xfrm>
          <a:prstGeom prst="rect">
            <a:avLst/>
          </a:prstGeom>
          <a:solidFill>
            <a:schemeClr val="bg2"/>
          </a:solidFill>
        </p:spPr>
        <p:txBody>
          <a:bodyPr lIns="182880" rIns="274320" anchor="ctr" anchorCtr="0"/>
          <a:lstStyle>
            <a:lvl1pPr algn="ctr">
              <a:defRPr sz="8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dditional Callout</a:t>
            </a:r>
          </a:p>
        </p:txBody>
      </p:sp>
      <p:pic>
        <p:nvPicPr>
          <p:cNvPr id="8" name="Picture 7" descr="Text&#10;&#10;Description automatically generated">
            <a:extLst>
              <a:ext uri="{FF2B5EF4-FFF2-40B4-BE49-F238E27FC236}">
                <a16:creationId xmlns:a16="http://schemas.microsoft.com/office/drawing/2014/main" id="{FF34B1E1-4648-234D-8D4B-A357D6C6858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9161895" y="11760994"/>
            <a:ext cx="4510114" cy="1505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0174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2" y="0"/>
            <a:ext cx="15599918" cy="13716000"/>
          </a:xfrm>
          <a:prstGeom prst="rect">
            <a:avLst/>
          </a:prstGeom>
        </p:spPr>
        <p:txBody>
          <a:bodyPr anchor="ctr"/>
          <a:lstStyle>
            <a:lvl1pPr algn="ctr">
              <a:defRPr baseline="0"/>
            </a:lvl1pPr>
          </a:lstStyle>
          <a:p>
            <a:r>
              <a:rPr lang="en-US"/>
              <a:t>Click Icon to Change Photo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3E20A4C-035A-9A47-8049-D59FEA5B12B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6189455" y="4637581"/>
            <a:ext cx="7464426" cy="444084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7998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82320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/ Quot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08A2E66B-C2C4-0F4D-902D-A81D1A0A789D}"/>
              </a:ext>
            </a:extLst>
          </p:cNvPr>
          <p:cNvSpPr/>
          <p:nvPr userDrawn="1"/>
        </p:nvSpPr>
        <p:spPr>
          <a:xfrm>
            <a:off x="2583952" y="1720297"/>
            <a:ext cx="19290396" cy="9703766"/>
          </a:xfrm>
          <a:prstGeom prst="rect">
            <a:avLst/>
          </a:prstGeom>
          <a:solidFill>
            <a:schemeClr val="tx1">
              <a:alpha val="46000"/>
            </a:schemeClr>
          </a:solidFill>
          <a:ln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 dirty="0">
              <a:latin typeface="Open Sans Light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66D62A7-A0A8-CD46-B6FE-6DF115FF01D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583952" y="1720297"/>
            <a:ext cx="19290396" cy="9703766"/>
          </a:xfrm>
          <a:prstGeom prst="rect">
            <a:avLst/>
          </a:prstGeom>
          <a:noFill/>
          <a:ln w="15875">
            <a:noFill/>
          </a:ln>
        </p:spPr>
        <p:txBody>
          <a:bodyPr lIns="457200" rIns="457200" anchor="ctr" anchorCtr="0"/>
          <a:lstStyle>
            <a:lvl1pPr algn="ctr">
              <a:defRPr sz="8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b="1" dirty="0"/>
              <a:t>Quote</a:t>
            </a:r>
            <a:endParaRPr lang="en-US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6A6F674-7E22-854B-BEE4-8776616A2B6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022776" y="9872281"/>
            <a:ext cx="10931504" cy="641350"/>
          </a:xfrm>
          <a:prstGeom prst="rect">
            <a:avLst/>
          </a:prstGeom>
        </p:spPr>
        <p:txBody>
          <a:bodyPr/>
          <a:lstStyle>
            <a:lvl1pPr algn="r">
              <a:defRPr sz="2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ATTRIBUTION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53DB9123-BEAA-3547-9504-A3F97F1BA29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543910" y="2291938"/>
            <a:ext cx="1296180" cy="1128156"/>
          </a:xfrm>
          <a:prstGeom prst="rect">
            <a:avLst/>
          </a:prstGeom>
        </p:spPr>
      </p:pic>
      <p:pic>
        <p:nvPicPr>
          <p:cNvPr id="8" name="Picture 7" descr="Text&#10;&#10;Description automatically generated">
            <a:extLst>
              <a:ext uri="{FF2B5EF4-FFF2-40B4-BE49-F238E27FC236}">
                <a16:creationId xmlns:a16="http://schemas.microsoft.com/office/drawing/2014/main" id="{9ACE9000-0247-6143-B2B8-8F1BFA1367A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9161895" y="11760994"/>
            <a:ext cx="4510114" cy="1505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874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C9EE3783-1183-5B40-BD68-1BD244418D75}"/>
              </a:ext>
            </a:extLst>
          </p:cNvPr>
          <p:cNvSpPr/>
          <p:nvPr userDrawn="1"/>
        </p:nvSpPr>
        <p:spPr>
          <a:xfrm>
            <a:off x="5106836" y="1694502"/>
            <a:ext cx="9653320" cy="964798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31F0C938-4AD5-8B45-86FF-67C8FEF6A7E9}"/>
              </a:ext>
            </a:extLst>
          </p:cNvPr>
          <p:cNvSpPr/>
          <p:nvPr userDrawn="1"/>
        </p:nvSpPr>
        <p:spPr>
          <a:xfrm>
            <a:off x="15039213" y="11525498"/>
            <a:ext cx="439410" cy="433164"/>
          </a:xfrm>
          <a:prstGeom prst="ellipse">
            <a:avLst/>
          </a:prstGeom>
          <a:solidFill>
            <a:srgbClr val="6EBE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/>
          </a:p>
        </p:txBody>
      </p:sp>
      <p:pic>
        <p:nvPicPr>
          <p:cNvPr id="15" name="Picture 14" descr="A picture containing light, dark&#10;&#10;Description automatically generated">
            <a:extLst>
              <a:ext uri="{FF2B5EF4-FFF2-40B4-BE49-F238E27FC236}">
                <a16:creationId xmlns:a16="http://schemas.microsoft.com/office/drawing/2014/main" id="{94A65367-A75D-C344-9043-404E7B6CA72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760157" y="1346468"/>
            <a:ext cx="4675362" cy="6734196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11FFE9D3-172E-D745-900C-A07A7B740BB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759726" y="9002434"/>
            <a:ext cx="11792004" cy="1388276"/>
          </a:xfrm>
          <a:prstGeom prst="rect">
            <a:avLst/>
          </a:prstGeom>
          <a:solidFill>
            <a:schemeClr val="bg2"/>
          </a:solidFill>
        </p:spPr>
        <p:txBody>
          <a:bodyPr lIns="182880" rIns="274320" anchor="ctr" anchorCtr="0"/>
          <a:lstStyle>
            <a:lvl1pPr algn="ctr">
              <a:defRPr sz="8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Fact Info Goes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69F5EA8-604D-DF49-88A0-8A3BF9071C8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759728" y="2904718"/>
            <a:ext cx="8348160" cy="5368924"/>
          </a:xfrm>
          <a:prstGeom prst="rect">
            <a:avLst/>
          </a:prstGeom>
        </p:spPr>
        <p:txBody>
          <a:bodyPr tIns="0" bIns="0"/>
          <a:lstStyle>
            <a:lvl1pPr>
              <a:defRPr sz="24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100%</a:t>
            </a:r>
          </a:p>
        </p:txBody>
      </p:sp>
      <p:pic>
        <p:nvPicPr>
          <p:cNvPr id="8" name="Picture 7" descr="Text&#10;&#10;Description automatically generated">
            <a:extLst>
              <a:ext uri="{FF2B5EF4-FFF2-40B4-BE49-F238E27FC236}">
                <a16:creationId xmlns:a16="http://schemas.microsoft.com/office/drawing/2014/main" id="{C314B8DA-5C59-6541-AAB4-C4096AA5C70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9161895" y="11760994"/>
            <a:ext cx="4510114" cy="1505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316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 Highlight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E2365EE-18F0-BE4E-B06E-27E97825302B}"/>
              </a:ext>
            </a:extLst>
          </p:cNvPr>
          <p:cNvCxnSpPr>
            <a:cxnSpLocks/>
          </p:cNvCxnSpPr>
          <p:nvPr userDrawn="1"/>
        </p:nvCxnSpPr>
        <p:spPr>
          <a:xfrm>
            <a:off x="32911" y="5779682"/>
            <a:ext cx="2435109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757E31A-A222-EE4D-9B56-456CC74FCD6E}"/>
              </a:ext>
            </a:extLst>
          </p:cNvPr>
          <p:cNvCxnSpPr>
            <a:cxnSpLocks/>
          </p:cNvCxnSpPr>
          <p:nvPr userDrawn="1"/>
        </p:nvCxnSpPr>
        <p:spPr>
          <a:xfrm>
            <a:off x="32911" y="9928604"/>
            <a:ext cx="2435109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Picture Placeholder 2">
            <a:extLst>
              <a:ext uri="{FF2B5EF4-FFF2-40B4-BE49-F238E27FC236}">
                <a16:creationId xmlns:a16="http://schemas.microsoft.com/office/drawing/2014/main" id="{E4978D97-B7EA-6745-A4D8-D4C9DD5355E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3080015" y="4422681"/>
            <a:ext cx="1678694" cy="1678694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Icon</a:t>
            </a:r>
          </a:p>
        </p:txBody>
      </p:sp>
      <p:sp>
        <p:nvSpPr>
          <p:cNvPr id="37" name="Picture Placeholder 2">
            <a:extLst>
              <a:ext uri="{FF2B5EF4-FFF2-40B4-BE49-F238E27FC236}">
                <a16:creationId xmlns:a16="http://schemas.microsoft.com/office/drawing/2014/main" id="{83CA17DC-D31D-2543-BC79-2C59CDD451D4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8543011" y="4420273"/>
            <a:ext cx="1678694" cy="1678694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Icon</a:t>
            </a:r>
          </a:p>
        </p:txBody>
      </p:sp>
      <p:sp>
        <p:nvSpPr>
          <p:cNvPr id="38" name="Picture Placeholder 2">
            <a:extLst>
              <a:ext uri="{FF2B5EF4-FFF2-40B4-BE49-F238E27FC236}">
                <a16:creationId xmlns:a16="http://schemas.microsoft.com/office/drawing/2014/main" id="{269D1268-B200-8646-83F0-A92C9BB81DC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4090351" y="4413259"/>
            <a:ext cx="1678694" cy="1678694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Icon</a:t>
            </a:r>
          </a:p>
        </p:txBody>
      </p:sp>
      <p:sp>
        <p:nvSpPr>
          <p:cNvPr id="39" name="Picture Placeholder 2">
            <a:extLst>
              <a:ext uri="{FF2B5EF4-FFF2-40B4-BE49-F238E27FC236}">
                <a16:creationId xmlns:a16="http://schemas.microsoft.com/office/drawing/2014/main" id="{D57DB9D9-3E40-B849-A928-4092FF04F43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9627051" y="4413257"/>
            <a:ext cx="1678694" cy="1678694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Icon</a:t>
            </a:r>
          </a:p>
        </p:txBody>
      </p:sp>
      <p:sp>
        <p:nvSpPr>
          <p:cNvPr id="40" name="Picture Placeholder 2">
            <a:extLst>
              <a:ext uri="{FF2B5EF4-FFF2-40B4-BE49-F238E27FC236}">
                <a16:creationId xmlns:a16="http://schemas.microsoft.com/office/drawing/2014/main" id="{B24F9B6D-B025-1743-B3B0-2DAB407C264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6859865" y="8441011"/>
            <a:ext cx="1678694" cy="1678694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Icon</a:t>
            </a:r>
          </a:p>
        </p:txBody>
      </p:sp>
      <p:sp>
        <p:nvSpPr>
          <p:cNvPr id="41" name="Picture Placeholder 2">
            <a:extLst>
              <a:ext uri="{FF2B5EF4-FFF2-40B4-BE49-F238E27FC236}">
                <a16:creationId xmlns:a16="http://schemas.microsoft.com/office/drawing/2014/main" id="{F99E2BD0-EA87-E840-A2B7-A045E0C9394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1319851" y="8441009"/>
            <a:ext cx="1678694" cy="1678694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Icon</a:t>
            </a:r>
          </a:p>
        </p:txBody>
      </p:sp>
      <p:sp>
        <p:nvSpPr>
          <p:cNvPr id="42" name="Picture Placeholder 2">
            <a:extLst>
              <a:ext uri="{FF2B5EF4-FFF2-40B4-BE49-F238E27FC236}">
                <a16:creationId xmlns:a16="http://schemas.microsoft.com/office/drawing/2014/main" id="{C7DDB4B5-4BA8-604C-994B-BCE03F566EB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791113" y="8461173"/>
            <a:ext cx="1678694" cy="1678694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Icon</a:t>
            </a:r>
          </a:p>
        </p:txBody>
      </p:sp>
      <p:sp>
        <p:nvSpPr>
          <p:cNvPr id="43" name="Text Placeholder 7">
            <a:extLst>
              <a:ext uri="{FF2B5EF4-FFF2-40B4-BE49-F238E27FC236}">
                <a16:creationId xmlns:a16="http://schemas.microsoft.com/office/drawing/2014/main" id="{908879B2-179E-004B-B202-33A0FEEF44F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219202" y="2128782"/>
            <a:ext cx="21726648" cy="7043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ctr">
              <a:spcBef>
                <a:spcPts val="0"/>
              </a:spcBef>
              <a:defRPr lang="en-US" sz="4800" b="1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nter Subhead</a:t>
            </a:r>
          </a:p>
        </p:txBody>
      </p:sp>
      <p:sp>
        <p:nvSpPr>
          <p:cNvPr id="44" name="Title Placeholder 1">
            <a:extLst>
              <a:ext uri="{FF2B5EF4-FFF2-40B4-BE49-F238E27FC236}">
                <a16:creationId xmlns:a16="http://schemas.microsoft.com/office/drawing/2014/main" id="{E023D1E8-7887-F14A-9FF0-CCA86725E3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19203" y="742683"/>
            <a:ext cx="21726650" cy="1386098"/>
          </a:xfrm>
          <a:prstGeom prst="rect">
            <a:avLst/>
          </a:prstGeom>
          <a:noFill/>
        </p:spPr>
        <p:txBody>
          <a:bodyPr lIns="0" tIns="0" rIns="0" bIns="0" anchor="t" anchorCtr="0">
            <a:normAutofit/>
          </a:bodyPr>
          <a:lstStyle>
            <a:lvl1pPr algn="ctr">
              <a:defRPr b="1"/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54276A-DEB7-704E-95F5-C7A52705B8E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83685" y="6339233"/>
            <a:ext cx="3559174" cy="641350"/>
          </a:xfrm>
          <a:prstGeom prst="rect">
            <a:avLst/>
          </a:prstGeom>
        </p:spPr>
        <p:txBody>
          <a:bodyPr/>
          <a:lstStyle>
            <a:lvl1pPr algn="ctr">
              <a:defRPr sz="2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add copy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89019760-0907-904C-AAE9-9AA208A809A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618061" y="6311655"/>
            <a:ext cx="3559174" cy="641350"/>
          </a:xfrm>
          <a:prstGeom prst="rect">
            <a:avLst/>
          </a:prstGeom>
        </p:spPr>
        <p:txBody>
          <a:bodyPr/>
          <a:lstStyle>
            <a:lvl1pPr algn="ctr">
              <a:defRPr sz="2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add copy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90B2BCA5-8DD0-A44D-A1FF-4B29C205A48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3150109" y="6304641"/>
            <a:ext cx="3559174" cy="641350"/>
          </a:xfrm>
          <a:prstGeom prst="rect">
            <a:avLst/>
          </a:prstGeom>
        </p:spPr>
        <p:txBody>
          <a:bodyPr/>
          <a:lstStyle>
            <a:lvl1pPr algn="ctr">
              <a:defRPr sz="2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add copy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5E285F8C-7CBE-2542-B604-3C62ACFCCFF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8686809" y="6300531"/>
            <a:ext cx="3559174" cy="641350"/>
          </a:xfrm>
          <a:prstGeom prst="rect">
            <a:avLst/>
          </a:prstGeom>
        </p:spPr>
        <p:txBody>
          <a:bodyPr/>
          <a:lstStyle>
            <a:lvl1pPr algn="ctr">
              <a:defRPr sz="2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add copy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B5FFA949-D0D5-3449-A7D6-92CB9BC8AE6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5919623" y="10375209"/>
            <a:ext cx="3559174" cy="641350"/>
          </a:xfrm>
          <a:prstGeom prst="rect">
            <a:avLst/>
          </a:prstGeom>
        </p:spPr>
        <p:txBody>
          <a:bodyPr/>
          <a:lstStyle>
            <a:lvl1pPr algn="ctr">
              <a:defRPr sz="2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add copy</a:t>
            </a: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1FFE6E9B-41C6-3F46-8293-A97422F6901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412413" y="10371045"/>
            <a:ext cx="3559174" cy="641350"/>
          </a:xfrm>
          <a:prstGeom prst="rect">
            <a:avLst/>
          </a:prstGeom>
        </p:spPr>
        <p:txBody>
          <a:bodyPr/>
          <a:lstStyle>
            <a:lvl1pPr algn="ctr">
              <a:defRPr sz="2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add copy</a:t>
            </a: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BE19F597-9745-EE45-A803-E6854BB1E6B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50871" y="10368963"/>
            <a:ext cx="3559174" cy="641350"/>
          </a:xfrm>
          <a:prstGeom prst="rect">
            <a:avLst/>
          </a:prstGeom>
        </p:spPr>
        <p:txBody>
          <a:bodyPr/>
          <a:lstStyle>
            <a:lvl1pPr algn="ctr">
              <a:defRPr sz="2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add copy</a:t>
            </a:r>
          </a:p>
        </p:txBody>
      </p:sp>
    </p:spTree>
    <p:extLst>
      <p:ext uri="{BB962C8B-B14F-4D97-AF65-F5344CB8AC3E}">
        <p14:creationId xmlns:p14="http://schemas.microsoft.com/office/powerpoint/2010/main" val="3642557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con Highlight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ext Placeholder 7">
            <a:extLst>
              <a:ext uri="{FF2B5EF4-FFF2-40B4-BE49-F238E27FC236}">
                <a16:creationId xmlns:a16="http://schemas.microsoft.com/office/drawing/2014/main" id="{908879B2-179E-004B-B202-33A0FEEF44F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219202" y="2128782"/>
            <a:ext cx="21726648" cy="7043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algn="ctr">
              <a:spcBef>
                <a:spcPts val="0"/>
              </a:spcBef>
              <a:defRPr lang="en-US" sz="4800" b="1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nter Subhead</a:t>
            </a:r>
          </a:p>
        </p:txBody>
      </p:sp>
      <p:sp>
        <p:nvSpPr>
          <p:cNvPr id="44" name="Title Placeholder 1">
            <a:extLst>
              <a:ext uri="{FF2B5EF4-FFF2-40B4-BE49-F238E27FC236}">
                <a16:creationId xmlns:a16="http://schemas.microsoft.com/office/drawing/2014/main" id="{E023D1E8-7887-F14A-9FF0-CCA86725E3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19203" y="742683"/>
            <a:ext cx="21726650" cy="1386098"/>
          </a:xfrm>
          <a:prstGeom prst="rect">
            <a:avLst/>
          </a:prstGeom>
          <a:noFill/>
        </p:spPr>
        <p:txBody>
          <a:bodyPr lIns="0" tIns="0" rIns="0" bIns="0" anchor="t" anchorCtr="0">
            <a:normAutofit/>
          </a:bodyPr>
          <a:lstStyle>
            <a:lvl1pPr algn="ctr">
              <a:defRPr b="1"/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C2BC043B-89A6-A84D-9037-4C3CD377D1F3}"/>
              </a:ext>
            </a:extLst>
          </p:cNvPr>
          <p:cNvCxnSpPr/>
          <p:nvPr userDrawn="1"/>
        </p:nvCxnSpPr>
        <p:spPr>
          <a:xfrm>
            <a:off x="0" y="5308356"/>
            <a:ext cx="243840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4460D126-432E-0B45-B993-6DDCCE594D3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58275" y="3383021"/>
            <a:ext cx="3559174" cy="1542766"/>
          </a:xfrm>
          <a:prstGeom prst="rect">
            <a:avLst/>
          </a:prstGeom>
        </p:spPr>
        <p:txBody>
          <a:bodyPr/>
          <a:lstStyle>
            <a:lvl1pPr algn="ctr">
              <a:defRPr sz="3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imeline 1</a:t>
            </a:r>
          </a:p>
        </p:txBody>
      </p:sp>
      <p:sp>
        <p:nvSpPr>
          <p:cNvPr id="76" name="Text Placeholder 2">
            <a:extLst>
              <a:ext uri="{FF2B5EF4-FFF2-40B4-BE49-F238E27FC236}">
                <a16:creationId xmlns:a16="http://schemas.microsoft.com/office/drawing/2014/main" id="{6360710D-F028-6F4A-AB20-81C9C331D1A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235539" y="6303007"/>
            <a:ext cx="2604642" cy="4832926"/>
          </a:xfrm>
          <a:prstGeom prst="rect">
            <a:avLst/>
          </a:prstGeom>
        </p:spPr>
        <p:txBody>
          <a:bodyPr/>
          <a:lstStyle>
            <a:lvl1pPr algn="ctr">
              <a:defRPr sz="2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copy</a:t>
            </a:r>
          </a:p>
        </p:txBody>
      </p:sp>
      <p:sp>
        <p:nvSpPr>
          <p:cNvPr id="77" name="Text Placeholder 2">
            <a:extLst>
              <a:ext uri="{FF2B5EF4-FFF2-40B4-BE49-F238E27FC236}">
                <a16:creationId xmlns:a16="http://schemas.microsoft.com/office/drawing/2014/main" id="{D2453382-0A1A-0649-982B-077FEC96AD4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08381" y="3383019"/>
            <a:ext cx="3559174" cy="1542766"/>
          </a:xfrm>
          <a:prstGeom prst="rect">
            <a:avLst/>
          </a:prstGeom>
        </p:spPr>
        <p:txBody>
          <a:bodyPr/>
          <a:lstStyle>
            <a:lvl1pPr algn="ctr">
              <a:defRPr sz="3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imeline 2</a:t>
            </a:r>
          </a:p>
        </p:txBody>
      </p:sp>
      <p:sp>
        <p:nvSpPr>
          <p:cNvPr id="78" name="Text Placeholder 2">
            <a:extLst>
              <a:ext uri="{FF2B5EF4-FFF2-40B4-BE49-F238E27FC236}">
                <a16:creationId xmlns:a16="http://schemas.microsoft.com/office/drawing/2014/main" id="{3F52F6A5-E78F-8649-A598-02536C8488A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77737" y="3382491"/>
            <a:ext cx="3559174" cy="1542766"/>
          </a:xfrm>
          <a:prstGeom prst="rect">
            <a:avLst/>
          </a:prstGeom>
        </p:spPr>
        <p:txBody>
          <a:bodyPr/>
          <a:lstStyle>
            <a:lvl1pPr algn="ctr">
              <a:defRPr sz="3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imeline 3</a:t>
            </a:r>
          </a:p>
        </p:txBody>
      </p:sp>
      <p:sp>
        <p:nvSpPr>
          <p:cNvPr id="79" name="Text Placeholder 2">
            <a:extLst>
              <a:ext uri="{FF2B5EF4-FFF2-40B4-BE49-F238E27FC236}">
                <a16:creationId xmlns:a16="http://schemas.microsoft.com/office/drawing/2014/main" id="{21117504-32FF-4545-A736-1E0551D0A4C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347093" y="3382489"/>
            <a:ext cx="3559174" cy="1542766"/>
          </a:xfrm>
          <a:prstGeom prst="rect">
            <a:avLst/>
          </a:prstGeom>
        </p:spPr>
        <p:txBody>
          <a:bodyPr/>
          <a:lstStyle>
            <a:lvl1pPr algn="ctr">
              <a:defRPr sz="3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imeline 4</a:t>
            </a:r>
          </a:p>
        </p:txBody>
      </p:sp>
      <p:sp>
        <p:nvSpPr>
          <p:cNvPr id="80" name="Text Placeholder 2">
            <a:extLst>
              <a:ext uri="{FF2B5EF4-FFF2-40B4-BE49-F238E27FC236}">
                <a16:creationId xmlns:a16="http://schemas.microsoft.com/office/drawing/2014/main" id="{D865A40A-678D-A74D-BC2D-54AC371622F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6197199" y="3382487"/>
            <a:ext cx="3559174" cy="1542766"/>
          </a:xfrm>
          <a:prstGeom prst="rect">
            <a:avLst/>
          </a:prstGeom>
        </p:spPr>
        <p:txBody>
          <a:bodyPr/>
          <a:lstStyle>
            <a:lvl1pPr algn="ctr">
              <a:defRPr sz="3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imeline 5</a:t>
            </a:r>
          </a:p>
        </p:txBody>
      </p:sp>
      <p:sp>
        <p:nvSpPr>
          <p:cNvPr id="81" name="Text Placeholder 2">
            <a:extLst>
              <a:ext uri="{FF2B5EF4-FFF2-40B4-BE49-F238E27FC236}">
                <a16:creationId xmlns:a16="http://schemas.microsoft.com/office/drawing/2014/main" id="{A23FC3AE-9250-D545-9C10-D7B43098325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0085805" y="3355033"/>
            <a:ext cx="3559174" cy="1542766"/>
          </a:xfrm>
          <a:prstGeom prst="rect">
            <a:avLst/>
          </a:prstGeom>
        </p:spPr>
        <p:txBody>
          <a:bodyPr/>
          <a:lstStyle>
            <a:lvl1pPr algn="ctr">
              <a:defRPr sz="3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imeline 6</a:t>
            </a:r>
          </a:p>
        </p:txBody>
      </p:sp>
      <p:sp>
        <p:nvSpPr>
          <p:cNvPr id="82" name="Text Placeholder 2">
            <a:extLst>
              <a:ext uri="{FF2B5EF4-FFF2-40B4-BE49-F238E27FC236}">
                <a16:creationId xmlns:a16="http://schemas.microsoft.com/office/drawing/2014/main" id="{665D9082-434D-414F-B5A1-081A649AE8D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085645" y="6303005"/>
            <a:ext cx="2604642" cy="4832926"/>
          </a:xfrm>
          <a:prstGeom prst="rect">
            <a:avLst/>
          </a:prstGeom>
        </p:spPr>
        <p:txBody>
          <a:bodyPr/>
          <a:lstStyle>
            <a:lvl1pPr algn="ctr">
              <a:defRPr sz="2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copy</a:t>
            </a:r>
          </a:p>
        </p:txBody>
      </p:sp>
      <p:sp>
        <p:nvSpPr>
          <p:cNvPr id="83" name="Text Placeholder 2">
            <a:extLst>
              <a:ext uri="{FF2B5EF4-FFF2-40B4-BE49-F238E27FC236}">
                <a16:creationId xmlns:a16="http://schemas.microsoft.com/office/drawing/2014/main" id="{DDB7C667-1B46-9A46-BE00-A51AF973317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955001" y="6303003"/>
            <a:ext cx="2604642" cy="4832926"/>
          </a:xfrm>
          <a:prstGeom prst="rect">
            <a:avLst/>
          </a:prstGeom>
        </p:spPr>
        <p:txBody>
          <a:bodyPr/>
          <a:lstStyle>
            <a:lvl1pPr algn="ctr">
              <a:defRPr sz="2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copy</a:t>
            </a:r>
          </a:p>
        </p:txBody>
      </p:sp>
      <p:sp>
        <p:nvSpPr>
          <p:cNvPr id="84" name="Text Placeholder 2">
            <a:extLst>
              <a:ext uri="{FF2B5EF4-FFF2-40B4-BE49-F238E27FC236}">
                <a16:creationId xmlns:a16="http://schemas.microsoft.com/office/drawing/2014/main" id="{7BE58823-5C19-C64C-BA0F-EE4700ADD9D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2818153" y="6303003"/>
            <a:ext cx="2604642" cy="4832926"/>
          </a:xfrm>
          <a:prstGeom prst="rect">
            <a:avLst/>
          </a:prstGeom>
        </p:spPr>
        <p:txBody>
          <a:bodyPr/>
          <a:lstStyle>
            <a:lvl1pPr algn="ctr">
              <a:defRPr sz="2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copy</a:t>
            </a:r>
          </a:p>
        </p:txBody>
      </p:sp>
      <p:sp>
        <p:nvSpPr>
          <p:cNvPr id="85" name="Text Placeholder 2">
            <a:extLst>
              <a:ext uri="{FF2B5EF4-FFF2-40B4-BE49-F238E27FC236}">
                <a16:creationId xmlns:a16="http://schemas.microsoft.com/office/drawing/2014/main" id="{2E427329-2E26-F146-A1FB-99D717E8BDB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6693715" y="6303001"/>
            <a:ext cx="2604642" cy="4832926"/>
          </a:xfrm>
          <a:prstGeom prst="rect">
            <a:avLst/>
          </a:prstGeom>
        </p:spPr>
        <p:txBody>
          <a:bodyPr/>
          <a:lstStyle>
            <a:lvl1pPr algn="ctr">
              <a:defRPr sz="2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copy</a:t>
            </a:r>
          </a:p>
        </p:txBody>
      </p:sp>
      <p:sp>
        <p:nvSpPr>
          <p:cNvPr id="86" name="Text Placeholder 2">
            <a:extLst>
              <a:ext uri="{FF2B5EF4-FFF2-40B4-BE49-F238E27FC236}">
                <a16:creationId xmlns:a16="http://schemas.microsoft.com/office/drawing/2014/main" id="{DB65727E-8267-F344-A6E6-E4EDEC4FF6A1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0543821" y="6302999"/>
            <a:ext cx="2604642" cy="4832926"/>
          </a:xfrm>
          <a:prstGeom prst="rect">
            <a:avLst/>
          </a:prstGeom>
        </p:spPr>
        <p:txBody>
          <a:bodyPr/>
          <a:lstStyle>
            <a:lvl1pPr algn="ctr">
              <a:defRPr sz="2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copy</a:t>
            </a:r>
          </a:p>
        </p:txBody>
      </p:sp>
    </p:spTree>
    <p:extLst>
      <p:ext uri="{BB962C8B-B14F-4D97-AF65-F5344CB8AC3E}">
        <p14:creationId xmlns:p14="http://schemas.microsoft.com/office/powerpoint/2010/main" val="339825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D4422C3B-DFE8-6A48-96A6-4B13A12FF87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268188" y="1165227"/>
            <a:ext cx="14003480" cy="113855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F7A28EEE-D14B-3347-B9E1-2CF479695DA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5889186" y="1165225"/>
            <a:ext cx="7220196" cy="544933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60E9C769-27FA-B245-9B5F-301D34E0109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15889186" y="7101444"/>
            <a:ext cx="7220196" cy="544933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9591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D4422C3B-DFE8-6A48-96A6-4B13A12FF87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24384000" cy="13716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7192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1828804" y="567779"/>
            <a:ext cx="20726400" cy="1133518"/>
          </a:xfrm>
          <a:prstGeom prst="rect">
            <a:avLst/>
          </a:prstGeom>
        </p:spPr>
        <p:txBody>
          <a:bodyPr>
            <a:noAutofit/>
          </a:bodyPr>
          <a:lstStyle/>
          <a:p>
            <a:endParaRPr lang="en-US">
              <a:solidFill>
                <a:schemeClr val="bg2"/>
              </a:solidFill>
            </a:endParaRPr>
          </a:p>
        </p:txBody>
      </p:sp>
      <p:sp>
        <p:nvSpPr>
          <p:cNvPr id="12" name="Subtitle 2"/>
          <p:cNvSpPr txBox="1">
            <a:spLocks/>
          </p:cNvSpPr>
          <p:nvPr userDrawn="1"/>
        </p:nvSpPr>
        <p:spPr>
          <a:xfrm>
            <a:off x="1865382" y="1478874"/>
            <a:ext cx="20653248" cy="839116"/>
          </a:xfrm>
          <a:prstGeom prst="rect">
            <a:avLst/>
          </a:prstGeom>
        </p:spPr>
        <p:txBody>
          <a:bodyPr vert="horz" lIns="217350" tIns="108674" rIns="217350" bIns="108674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3098"/>
          </a:p>
        </p:txBody>
      </p:sp>
      <p:sp>
        <p:nvSpPr>
          <p:cNvPr id="13" name="Subtitle 2"/>
          <p:cNvSpPr txBox="1">
            <a:spLocks/>
          </p:cNvSpPr>
          <p:nvPr userDrawn="1"/>
        </p:nvSpPr>
        <p:spPr>
          <a:xfrm>
            <a:off x="1865382" y="1478874"/>
            <a:ext cx="20653248" cy="839116"/>
          </a:xfrm>
          <a:prstGeom prst="rect">
            <a:avLst/>
          </a:prstGeom>
        </p:spPr>
        <p:txBody>
          <a:bodyPr vert="horz" lIns="217350" tIns="108674" rIns="217350" bIns="108674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3098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30D738-FFA1-3149-BE37-CE55AF46773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47852" y="3340105"/>
            <a:ext cx="20688300" cy="8528050"/>
          </a:xfrm>
          <a:prstGeom prst="rect">
            <a:avLst/>
          </a:prstGeom>
        </p:spPr>
        <p:txBody>
          <a:bodyPr/>
          <a:lstStyle>
            <a:lvl1pPr>
              <a:defRPr sz="3598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1546B74-31B5-0546-B3A3-465C8C8E77B1}"/>
              </a:ext>
            </a:extLst>
          </p:cNvPr>
          <p:cNvSpPr/>
          <p:nvPr userDrawn="1"/>
        </p:nvSpPr>
        <p:spPr>
          <a:xfrm>
            <a:off x="11415491" y="2594356"/>
            <a:ext cx="1553038" cy="127964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280" tIns="45642" rIns="91280" bIns="45642" rtlCol="0" anchor="ctr"/>
          <a:lstStyle/>
          <a:p>
            <a:pPr algn="ctr"/>
            <a:endParaRPr lang="en-US" sz="2398">
              <a:solidFill>
                <a:schemeClr val="accent2"/>
              </a:solidFill>
              <a:latin typeface="Open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1251768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8" grpId="1" animBg="1"/>
      <p:bldP spid="8" grpId="2" animBg="1"/>
      <p:bldP spid="8" grpId="3" animBg="1"/>
      <p:bldP spid="8" grpId="4" animBg="1"/>
      <p:bldP spid="8" grpId="5" animBg="1"/>
    </p:bld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5375385-3938-43DA-A0C3-2BA2CD7F68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447801" y="1398027"/>
            <a:ext cx="19335750" cy="93345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70000"/>
              </a:lnSpc>
              <a:buNone/>
              <a:defRPr sz="6600" b="1">
                <a:solidFill>
                  <a:srgbClr val="93BF2C"/>
                </a:solidFill>
                <a:latin typeface="Montserrat" panose="00000500000000000000" pitchFamily="2" charset="0"/>
                <a:ea typeface="Source Sans Pro" panose="020B0503030403020204" pitchFamily="34" charset="0"/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4247564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Left +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5FD6A7D7-BBFC-46D9-BD6F-3630418ED19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3293728" y="301084"/>
            <a:ext cx="11090272" cy="1371600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/>
              <a:t>Click Icon to Change Phot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E82905-E4DD-CC40-97AE-8641DAD288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76401" y="5997993"/>
            <a:ext cx="9177130" cy="2651126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5953299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 3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-1" y="1"/>
            <a:ext cx="7944679" cy="7126070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Change Photo</a:t>
            </a:r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7944678" y="1"/>
            <a:ext cx="8494646" cy="7126070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marR="0" indent="0" algn="ctr" defTabSz="1086684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lvl1pPr>
          </a:lstStyle>
          <a:p>
            <a:pPr marL="0" marR="0" lvl="0" indent="0" algn="ctr" defTabSz="1086684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/>
          </a:p>
          <a:p>
            <a:pPr marL="0" marR="0" lvl="0" indent="0" algn="ctr" defTabSz="1086684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Icon to Change Photo</a:t>
            </a:r>
          </a:p>
          <a:p>
            <a:endParaRPr lang="en-US"/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16439324" y="1"/>
            <a:ext cx="7944679" cy="7126070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marR="0" indent="0" algn="ctr" defTabSz="1086684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lvl1pPr>
          </a:lstStyle>
          <a:p>
            <a:pPr marL="0" marR="0" lvl="0" indent="0" algn="ctr" defTabSz="1086684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lang="en-US"/>
          </a:p>
          <a:p>
            <a:pPr marL="0" marR="0" lvl="0" indent="0" algn="ctr" defTabSz="1086684" rtl="0" eaLnBrk="1" fontAlgn="auto" latinLnBrk="0" hangingPunct="1">
              <a:lnSpc>
                <a:spcPct val="13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/>
              <a:t>Click Icon to Change Photo</a:t>
            </a:r>
          </a:p>
          <a:p>
            <a:endParaRPr lang="en-US"/>
          </a:p>
        </p:txBody>
      </p:sp>
      <p:sp>
        <p:nvSpPr>
          <p:cNvPr id="12" name="Subtitle 2"/>
          <p:cNvSpPr txBox="1">
            <a:spLocks/>
          </p:cNvSpPr>
          <p:nvPr userDrawn="1"/>
        </p:nvSpPr>
        <p:spPr>
          <a:xfrm>
            <a:off x="1865381" y="1478874"/>
            <a:ext cx="20653248" cy="839116"/>
          </a:xfrm>
          <a:prstGeom prst="rect">
            <a:avLst/>
          </a:prstGeom>
        </p:spPr>
        <p:txBody>
          <a:bodyPr vert="horz" lIns="217350" tIns="108674" rIns="217350" bIns="108674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3098"/>
          </a:p>
        </p:txBody>
      </p:sp>
      <p:sp>
        <p:nvSpPr>
          <p:cNvPr id="13" name="Subtitle 2"/>
          <p:cNvSpPr txBox="1">
            <a:spLocks/>
          </p:cNvSpPr>
          <p:nvPr userDrawn="1"/>
        </p:nvSpPr>
        <p:spPr>
          <a:xfrm>
            <a:off x="1865381" y="1478874"/>
            <a:ext cx="20653248" cy="839116"/>
          </a:xfrm>
          <a:prstGeom prst="rect">
            <a:avLst/>
          </a:prstGeom>
        </p:spPr>
        <p:txBody>
          <a:bodyPr vert="horz" lIns="217350" tIns="108674" rIns="217350" bIns="108674" rtlCol="0">
            <a:norm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3098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8C6AEC0-A131-F54C-9FFC-C561BE034690}"/>
              </a:ext>
            </a:extLst>
          </p:cNvPr>
          <p:cNvSpPr txBox="1">
            <a:spLocks/>
          </p:cNvSpPr>
          <p:nvPr userDrawn="1"/>
        </p:nvSpPr>
        <p:spPr>
          <a:xfrm>
            <a:off x="8189844" y="8277283"/>
            <a:ext cx="7944679" cy="1133518"/>
          </a:xfrm>
          <a:prstGeom prst="rect">
            <a:avLst/>
          </a:prstGeom>
        </p:spPr>
        <p:txBody>
          <a:bodyPr>
            <a:noAutofit/>
          </a:bodyPr>
          <a:lstStyle>
            <a:lvl1pPr algn="ctr" defTabSz="543505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bg2"/>
                </a:solidFill>
                <a:latin typeface="+mj-lt"/>
                <a:ea typeface="+mj-ea"/>
                <a:cs typeface="Open Sans"/>
              </a:defRPr>
            </a:lvl1pPr>
          </a:lstStyle>
          <a:p>
            <a:endParaRPr lang="en-US" sz="4798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7C9B4040-BACE-3844-86C1-D47858F4F5CB}"/>
              </a:ext>
            </a:extLst>
          </p:cNvPr>
          <p:cNvSpPr txBox="1">
            <a:spLocks/>
          </p:cNvSpPr>
          <p:nvPr userDrawn="1"/>
        </p:nvSpPr>
        <p:spPr>
          <a:xfrm>
            <a:off x="8179903" y="8277283"/>
            <a:ext cx="6374294" cy="1133518"/>
          </a:xfrm>
          <a:prstGeom prst="rect">
            <a:avLst/>
          </a:prstGeom>
        </p:spPr>
        <p:txBody>
          <a:bodyPr>
            <a:noAutofit/>
          </a:bodyPr>
          <a:lstStyle>
            <a:lvl1pPr algn="ctr" defTabSz="543505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bg2"/>
                </a:solidFill>
                <a:latin typeface="+mj-lt"/>
                <a:ea typeface="+mj-ea"/>
                <a:cs typeface="Open Sans"/>
              </a:defRPr>
            </a:lvl1pPr>
          </a:lstStyle>
          <a:p>
            <a:endParaRPr lang="en-US" sz="4798"/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3B2263D9-49BC-174E-9028-ED210D5AB886}"/>
              </a:ext>
            </a:extLst>
          </p:cNvPr>
          <p:cNvSpPr txBox="1">
            <a:spLocks/>
          </p:cNvSpPr>
          <p:nvPr userDrawn="1"/>
        </p:nvSpPr>
        <p:spPr>
          <a:xfrm>
            <a:off x="7993059" y="9707059"/>
            <a:ext cx="6747983" cy="10758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 defTabSz="543505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Open Sans Light"/>
              </a:defRPr>
            </a:lvl1pPr>
            <a:lvl2pPr marL="543505" indent="0" algn="ctr" defTabSz="543505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549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2pPr>
            <a:lvl3pPr marL="1087009" indent="0" algn="ctr" defTabSz="543505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549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3pPr>
            <a:lvl4pPr marL="1630517" indent="0" algn="ctr" defTabSz="543505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549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4pPr>
            <a:lvl5pPr marL="2174020" indent="0" algn="ctr" defTabSz="543505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549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5pPr>
            <a:lvl6pPr marL="2989277" indent="-271753" algn="l" defTabSz="543505" rtl="0" eaLnBrk="1" latinLnBrk="0" hangingPunct="1">
              <a:spcBef>
                <a:spcPct val="20000"/>
              </a:spcBef>
              <a:buFont typeface="Arial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2783" indent="-271753" algn="l" defTabSz="543505" rtl="0" eaLnBrk="1" latinLnBrk="0" hangingPunct="1">
              <a:spcBef>
                <a:spcPct val="20000"/>
              </a:spcBef>
              <a:buFont typeface="Arial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76289" indent="-271753" algn="l" defTabSz="543505" rtl="0" eaLnBrk="1" latinLnBrk="0" hangingPunct="1">
              <a:spcBef>
                <a:spcPct val="20000"/>
              </a:spcBef>
              <a:buFont typeface="Arial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19794" indent="-271753" algn="l" defTabSz="543505" rtl="0" eaLnBrk="1" latinLnBrk="0" hangingPunct="1">
              <a:spcBef>
                <a:spcPct val="20000"/>
              </a:spcBef>
              <a:buFont typeface="Arial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320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9B6CFAC-DE40-2A49-8AB5-7476463CE97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38900" y="7900672"/>
            <a:ext cx="7509976" cy="1203324"/>
          </a:xfrm>
          <a:prstGeom prst="rect">
            <a:avLst/>
          </a:prstGeom>
        </p:spPr>
        <p:txBody>
          <a:bodyPr/>
          <a:lstStyle>
            <a:lvl1pPr algn="ctr">
              <a:defRPr sz="3998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B4E169AF-5D67-CA47-A0CE-69C80D93C3B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356924" y="7900672"/>
            <a:ext cx="7509976" cy="1203324"/>
          </a:xfrm>
          <a:prstGeom prst="rect">
            <a:avLst/>
          </a:prstGeom>
        </p:spPr>
        <p:txBody>
          <a:bodyPr/>
          <a:lstStyle>
            <a:lvl1pPr algn="ctr">
              <a:defRPr sz="3998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E768A295-6D91-804D-AB7D-4F150F2D9A9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6713846" y="7900672"/>
            <a:ext cx="7509976" cy="1203324"/>
          </a:xfrm>
          <a:prstGeom prst="rect">
            <a:avLst/>
          </a:prstGeom>
        </p:spPr>
        <p:txBody>
          <a:bodyPr/>
          <a:lstStyle>
            <a:lvl1pPr algn="ctr">
              <a:defRPr sz="3998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F4CADA4-D39F-6443-97F6-AFB106C0E44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38900" y="9702388"/>
            <a:ext cx="7508875" cy="1857376"/>
          </a:xfrm>
          <a:prstGeom prst="rect">
            <a:avLst/>
          </a:prstGeom>
        </p:spPr>
        <p:txBody>
          <a:bodyPr/>
          <a:lstStyle>
            <a:lvl1pPr algn="ctr">
              <a:defRPr sz="3598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6C8D13E3-F06F-7041-BE91-60BB06F91EE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333776" y="9702388"/>
            <a:ext cx="7508875" cy="1857376"/>
          </a:xfrm>
          <a:prstGeom prst="rect">
            <a:avLst/>
          </a:prstGeom>
        </p:spPr>
        <p:txBody>
          <a:bodyPr/>
          <a:lstStyle>
            <a:lvl1pPr algn="ctr">
              <a:defRPr sz="3598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9F9B074D-D5F5-3543-8913-F8C9D764959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6712748" y="9702388"/>
            <a:ext cx="7509976" cy="1857376"/>
          </a:xfrm>
          <a:prstGeom prst="rect">
            <a:avLst/>
          </a:prstGeom>
        </p:spPr>
        <p:txBody>
          <a:bodyPr/>
          <a:lstStyle>
            <a:lvl1pPr algn="ctr">
              <a:defRPr sz="3598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29388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image" Target="../media/image1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slideLayout" Target="../slideLayouts/slideLayout53.xml"/><Relationship Id="rId18" Type="http://schemas.openxmlformats.org/officeDocument/2006/relationships/slideLayout" Target="../slideLayouts/slideLayout58.xml"/><Relationship Id="rId26" Type="http://schemas.openxmlformats.org/officeDocument/2006/relationships/slideLayout" Target="../slideLayouts/slideLayout66.xml"/><Relationship Id="rId3" Type="http://schemas.openxmlformats.org/officeDocument/2006/relationships/slideLayout" Target="../slideLayouts/slideLayout43.xml"/><Relationship Id="rId21" Type="http://schemas.openxmlformats.org/officeDocument/2006/relationships/slideLayout" Target="../slideLayouts/slideLayout61.xml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17" Type="http://schemas.openxmlformats.org/officeDocument/2006/relationships/slideLayout" Target="../slideLayouts/slideLayout57.xml"/><Relationship Id="rId25" Type="http://schemas.openxmlformats.org/officeDocument/2006/relationships/slideLayout" Target="../slideLayouts/slideLayout65.xml"/><Relationship Id="rId33" Type="http://schemas.openxmlformats.org/officeDocument/2006/relationships/image" Target="../media/image32.png"/><Relationship Id="rId2" Type="http://schemas.openxmlformats.org/officeDocument/2006/relationships/slideLayout" Target="../slideLayouts/slideLayout42.xml"/><Relationship Id="rId16" Type="http://schemas.openxmlformats.org/officeDocument/2006/relationships/slideLayout" Target="../slideLayouts/slideLayout56.xml"/><Relationship Id="rId20" Type="http://schemas.openxmlformats.org/officeDocument/2006/relationships/slideLayout" Target="../slideLayouts/slideLayout60.xml"/><Relationship Id="rId29" Type="http://schemas.openxmlformats.org/officeDocument/2006/relationships/slideLayout" Target="../slideLayouts/slideLayout69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24" Type="http://schemas.openxmlformats.org/officeDocument/2006/relationships/slideLayout" Target="../slideLayouts/slideLayout64.xml"/><Relationship Id="rId32" Type="http://schemas.openxmlformats.org/officeDocument/2006/relationships/theme" Target="../theme/theme2.xml"/><Relationship Id="rId5" Type="http://schemas.openxmlformats.org/officeDocument/2006/relationships/slideLayout" Target="../slideLayouts/slideLayout45.xml"/><Relationship Id="rId15" Type="http://schemas.openxmlformats.org/officeDocument/2006/relationships/slideLayout" Target="../slideLayouts/slideLayout55.xml"/><Relationship Id="rId23" Type="http://schemas.openxmlformats.org/officeDocument/2006/relationships/slideLayout" Target="../slideLayouts/slideLayout63.xml"/><Relationship Id="rId28" Type="http://schemas.openxmlformats.org/officeDocument/2006/relationships/slideLayout" Target="../slideLayouts/slideLayout68.xml"/><Relationship Id="rId10" Type="http://schemas.openxmlformats.org/officeDocument/2006/relationships/slideLayout" Target="../slideLayouts/slideLayout50.xml"/><Relationship Id="rId19" Type="http://schemas.openxmlformats.org/officeDocument/2006/relationships/slideLayout" Target="../slideLayouts/slideLayout59.xml"/><Relationship Id="rId31" Type="http://schemas.openxmlformats.org/officeDocument/2006/relationships/slideLayout" Target="../slideLayouts/slideLayout71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slideLayout" Target="../slideLayouts/slideLayout54.xml"/><Relationship Id="rId22" Type="http://schemas.openxmlformats.org/officeDocument/2006/relationships/slideLayout" Target="../slideLayouts/slideLayout62.xml"/><Relationship Id="rId27" Type="http://schemas.openxmlformats.org/officeDocument/2006/relationships/slideLayout" Target="../slideLayouts/slideLayout67.xml"/><Relationship Id="rId30" Type="http://schemas.openxmlformats.org/officeDocument/2006/relationships/slideLayout" Target="../slideLayouts/slideLayout70.xml"/></Relationships>
</file>

<file path=ppt/slideMasters/_rels/slideMaster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9.xml"/><Relationship Id="rId13" Type="http://schemas.openxmlformats.org/officeDocument/2006/relationships/slideLayout" Target="../slideLayouts/slideLayout84.xml"/><Relationship Id="rId18" Type="http://schemas.openxmlformats.org/officeDocument/2006/relationships/theme" Target="../theme/theme5.xml"/><Relationship Id="rId3" Type="http://schemas.openxmlformats.org/officeDocument/2006/relationships/slideLayout" Target="../slideLayouts/slideLayout74.xml"/><Relationship Id="rId7" Type="http://schemas.openxmlformats.org/officeDocument/2006/relationships/slideLayout" Target="../slideLayouts/slideLayout78.xml"/><Relationship Id="rId12" Type="http://schemas.openxmlformats.org/officeDocument/2006/relationships/slideLayout" Target="../slideLayouts/slideLayout83.xml"/><Relationship Id="rId17" Type="http://schemas.openxmlformats.org/officeDocument/2006/relationships/slideLayout" Target="../slideLayouts/slideLayout88.xml"/><Relationship Id="rId2" Type="http://schemas.openxmlformats.org/officeDocument/2006/relationships/slideLayout" Target="../slideLayouts/slideLayout73.xml"/><Relationship Id="rId16" Type="http://schemas.openxmlformats.org/officeDocument/2006/relationships/slideLayout" Target="../slideLayouts/slideLayout87.xml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11" Type="http://schemas.openxmlformats.org/officeDocument/2006/relationships/slideLayout" Target="../slideLayouts/slideLayout82.xml"/><Relationship Id="rId5" Type="http://schemas.openxmlformats.org/officeDocument/2006/relationships/slideLayout" Target="../slideLayouts/slideLayout76.xml"/><Relationship Id="rId15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81.xml"/><Relationship Id="rId4" Type="http://schemas.openxmlformats.org/officeDocument/2006/relationships/slideLayout" Target="../slideLayouts/slideLayout75.xml"/><Relationship Id="rId9" Type="http://schemas.openxmlformats.org/officeDocument/2006/relationships/slideLayout" Target="../slideLayouts/slideLayout80.xml"/><Relationship Id="rId14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DC853CF0-1FF9-0649-8875-CA7590D98506}"/>
              </a:ext>
            </a:extLst>
          </p:cNvPr>
          <p:cNvSpPr txBox="1"/>
          <p:nvPr userDrawn="1"/>
        </p:nvSpPr>
        <p:spPr>
          <a:xfrm>
            <a:off x="18765082" y="12832249"/>
            <a:ext cx="431358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200" dirty="0">
                <a:solidFill>
                  <a:schemeClr val="bg1">
                    <a:lumMod val="50000"/>
                  </a:schemeClr>
                </a:solidFill>
              </a:rPr>
              <a:t>Seagate   |  2022  |</a:t>
            </a:r>
          </a:p>
        </p:txBody>
      </p:sp>
      <p:pic>
        <p:nvPicPr>
          <p:cNvPr id="8" name="Picture 7" descr="sgicon_transparent.png">
            <a:extLst>
              <a:ext uri="{FF2B5EF4-FFF2-40B4-BE49-F238E27FC236}">
                <a16:creationId xmlns:a16="http://schemas.microsoft.com/office/drawing/2014/main" id="{C452FFFA-E04A-5F48-8A9B-1E41509563DB}"/>
              </a:ext>
            </a:extLst>
          </p:cNvPr>
          <p:cNvPicPr>
            <a:picLocks noChangeAspect="1"/>
          </p:cNvPicPr>
          <p:nvPr userDrawn="1"/>
        </p:nvPicPr>
        <p:blipFill>
          <a:blip r:embed="rId4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678928" y="12819022"/>
            <a:ext cx="648499" cy="54967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6482268-E1F6-C843-883E-6702C2F315AC}"/>
              </a:ext>
            </a:extLst>
          </p:cNvPr>
          <p:cNvSpPr txBox="1"/>
          <p:nvPr userDrawn="1"/>
        </p:nvSpPr>
        <p:spPr>
          <a:xfrm>
            <a:off x="22808471" y="12898291"/>
            <a:ext cx="73986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3EBF4A3-DF90-A145-ABFB-48E1A00C731F}" type="slidenum">
              <a:rPr kumimoji="0" lang="en-US" sz="1600" b="0" i="0" u="none" strike="noStrike" kern="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rPr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6BE8FDF-1CA5-3A3E-006F-B3F9C34A16E1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11770487" y="13563600"/>
            <a:ext cx="871538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8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agate Internal</a:t>
            </a:r>
          </a:p>
        </p:txBody>
      </p:sp>
    </p:spTree>
    <p:extLst>
      <p:ext uri="{BB962C8B-B14F-4D97-AF65-F5344CB8AC3E}">
        <p14:creationId xmlns:p14="http://schemas.microsoft.com/office/powerpoint/2010/main" val="11906765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  <p:sldLayoutId id="2147483683" r:id="rId13"/>
    <p:sldLayoutId id="2147483684" r:id="rId14"/>
    <p:sldLayoutId id="2147483685" r:id="rId15"/>
    <p:sldLayoutId id="2147483686" r:id="rId16"/>
    <p:sldLayoutId id="2147483687" r:id="rId17"/>
    <p:sldLayoutId id="2147483688" r:id="rId18"/>
    <p:sldLayoutId id="2147483689" r:id="rId19"/>
    <p:sldLayoutId id="2147483690" r:id="rId20"/>
    <p:sldLayoutId id="2147483691" r:id="rId21"/>
    <p:sldLayoutId id="2147483692" r:id="rId22"/>
    <p:sldLayoutId id="2147483693" r:id="rId23"/>
    <p:sldLayoutId id="2147483694" r:id="rId24"/>
    <p:sldLayoutId id="2147483695" r:id="rId25"/>
    <p:sldLayoutId id="2147483696" r:id="rId26"/>
    <p:sldLayoutId id="2147483697" r:id="rId27"/>
    <p:sldLayoutId id="2147483700" r:id="rId28"/>
    <p:sldLayoutId id="2147483701" r:id="rId29"/>
    <p:sldLayoutId id="2147483702" r:id="rId30"/>
    <p:sldLayoutId id="2147483703" r:id="rId31"/>
    <p:sldLayoutId id="2147483704" r:id="rId32"/>
    <p:sldLayoutId id="2147483705" r:id="rId33"/>
    <p:sldLayoutId id="2147483706" r:id="rId34"/>
    <p:sldLayoutId id="2147483707" r:id="rId35"/>
    <p:sldLayoutId id="2147483708" r:id="rId36"/>
    <p:sldLayoutId id="2147483709" r:id="rId37"/>
    <p:sldLayoutId id="2147483711" r:id="rId38"/>
    <p:sldLayoutId id="2147483712" r:id="rId39"/>
    <p:sldLayoutId id="2147483713" r:id="rId4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ctr" defTabSz="1086684" rtl="0" eaLnBrk="1" latinLnBrk="0" hangingPunct="1">
        <a:spcBef>
          <a:spcPct val="0"/>
        </a:spcBef>
        <a:buNone/>
        <a:defRPr sz="7998" kern="1200">
          <a:solidFill>
            <a:schemeClr val="bg2"/>
          </a:solidFill>
          <a:latin typeface="+mj-lt"/>
          <a:ea typeface="+mj-ea"/>
          <a:cs typeface="Open Sans"/>
        </a:defRPr>
      </a:lvl1pPr>
    </p:titleStyle>
    <p:bodyStyle>
      <a:lvl1pPr marL="0" indent="0" algn="l" defTabSz="1086684" rtl="0" eaLnBrk="1" latinLnBrk="0" hangingPunct="1">
        <a:lnSpc>
          <a:spcPct val="130000"/>
        </a:lnSpc>
        <a:spcBef>
          <a:spcPct val="20000"/>
        </a:spcBef>
        <a:buFont typeface="Arial"/>
        <a:buNone/>
        <a:defRPr sz="3200" kern="1200">
          <a:solidFill>
            <a:schemeClr val="tx2"/>
          </a:solidFill>
          <a:latin typeface="+mn-lt"/>
          <a:ea typeface="+mn-ea"/>
          <a:cs typeface="Open Sans Light"/>
        </a:defRPr>
      </a:lvl1pPr>
      <a:lvl2pPr marL="1086684" indent="0" algn="ctr" defTabSz="1086684" rtl="0" eaLnBrk="1" latinLnBrk="0" hangingPunct="1">
        <a:lnSpc>
          <a:spcPct val="130000"/>
        </a:lnSpc>
        <a:spcBef>
          <a:spcPct val="20000"/>
        </a:spcBef>
        <a:buFont typeface="Arial"/>
        <a:buNone/>
        <a:defRPr sz="3098" kern="1200">
          <a:solidFill>
            <a:schemeClr val="tx2"/>
          </a:solidFill>
          <a:latin typeface="Open Sans"/>
          <a:ea typeface="+mn-ea"/>
          <a:cs typeface="Open Sans"/>
        </a:defRPr>
      </a:lvl2pPr>
      <a:lvl3pPr marL="2173366" indent="0" algn="ctr" defTabSz="1086684" rtl="0" eaLnBrk="1" latinLnBrk="0" hangingPunct="1">
        <a:lnSpc>
          <a:spcPct val="130000"/>
        </a:lnSpc>
        <a:spcBef>
          <a:spcPct val="20000"/>
        </a:spcBef>
        <a:buFont typeface="Arial"/>
        <a:buNone/>
        <a:defRPr sz="3098" kern="1200">
          <a:solidFill>
            <a:schemeClr val="tx2"/>
          </a:solidFill>
          <a:latin typeface="Open Sans"/>
          <a:ea typeface="+mn-ea"/>
          <a:cs typeface="Open Sans"/>
        </a:defRPr>
      </a:lvl3pPr>
      <a:lvl4pPr marL="3260056" indent="0" algn="ctr" defTabSz="1086684" rtl="0" eaLnBrk="1" latinLnBrk="0" hangingPunct="1">
        <a:lnSpc>
          <a:spcPct val="130000"/>
        </a:lnSpc>
        <a:spcBef>
          <a:spcPct val="20000"/>
        </a:spcBef>
        <a:buFont typeface="Arial"/>
        <a:buNone/>
        <a:defRPr sz="3098" kern="1200">
          <a:solidFill>
            <a:schemeClr val="tx2"/>
          </a:solidFill>
          <a:latin typeface="Open Sans"/>
          <a:ea typeface="+mn-ea"/>
          <a:cs typeface="Open Sans"/>
        </a:defRPr>
      </a:lvl4pPr>
      <a:lvl5pPr marL="4346736" indent="0" algn="ctr" defTabSz="1086684" rtl="0" eaLnBrk="1" latinLnBrk="0" hangingPunct="1">
        <a:lnSpc>
          <a:spcPct val="130000"/>
        </a:lnSpc>
        <a:spcBef>
          <a:spcPct val="20000"/>
        </a:spcBef>
        <a:buFont typeface="Arial"/>
        <a:buNone/>
        <a:defRPr sz="3098" kern="1200">
          <a:solidFill>
            <a:schemeClr val="tx2"/>
          </a:solidFill>
          <a:latin typeface="Open Sans"/>
          <a:ea typeface="+mn-ea"/>
          <a:cs typeface="Open Sans"/>
        </a:defRPr>
      </a:lvl5pPr>
      <a:lvl6pPr marL="5976760" indent="-543342" algn="l" defTabSz="1086684" rtl="0" eaLnBrk="1" latinLnBrk="0" hangingPunct="1">
        <a:spcBef>
          <a:spcPct val="20000"/>
        </a:spcBef>
        <a:buFont typeface="Arial"/>
        <a:buChar char="•"/>
        <a:defRPr sz="4796" kern="1200">
          <a:solidFill>
            <a:schemeClr val="tx1"/>
          </a:solidFill>
          <a:latin typeface="+mn-lt"/>
          <a:ea typeface="+mn-ea"/>
          <a:cs typeface="+mn-cs"/>
        </a:defRPr>
      </a:lvl6pPr>
      <a:lvl7pPr marL="7063446" indent="-543342" algn="l" defTabSz="1086684" rtl="0" eaLnBrk="1" latinLnBrk="0" hangingPunct="1">
        <a:spcBef>
          <a:spcPct val="20000"/>
        </a:spcBef>
        <a:buFont typeface="Arial"/>
        <a:buChar char="•"/>
        <a:defRPr sz="4796" kern="1200">
          <a:solidFill>
            <a:schemeClr val="tx1"/>
          </a:solidFill>
          <a:latin typeface="+mn-lt"/>
          <a:ea typeface="+mn-ea"/>
          <a:cs typeface="+mn-cs"/>
        </a:defRPr>
      </a:lvl7pPr>
      <a:lvl8pPr marL="8150132" indent="-543342" algn="l" defTabSz="1086684" rtl="0" eaLnBrk="1" latinLnBrk="0" hangingPunct="1">
        <a:spcBef>
          <a:spcPct val="20000"/>
        </a:spcBef>
        <a:buFont typeface="Arial"/>
        <a:buChar char="•"/>
        <a:defRPr sz="4796" kern="1200">
          <a:solidFill>
            <a:schemeClr val="tx1"/>
          </a:solidFill>
          <a:latin typeface="+mn-lt"/>
          <a:ea typeface="+mn-ea"/>
          <a:cs typeface="+mn-cs"/>
        </a:defRPr>
      </a:lvl8pPr>
      <a:lvl9pPr marL="9236816" indent="-543342" algn="l" defTabSz="1086684" rtl="0" eaLnBrk="1" latinLnBrk="0" hangingPunct="1">
        <a:spcBef>
          <a:spcPct val="20000"/>
        </a:spcBef>
        <a:buFont typeface="Arial"/>
        <a:buChar char="•"/>
        <a:defRPr sz="479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6684" rtl="0" eaLnBrk="1" latinLnBrk="0" hangingPunct="1">
        <a:defRPr sz="4296" kern="1200">
          <a:solidFill>
            <a:schemeClr val="tx1"/>
          </a:solidFill>
          <a:latin typeface="+mn-lt"/>
          <a:ea typeface="+mn-ea"/>
          <a:cs typeface="+mn-cs"/>
        </a:defRPr>
      </a:lvl1pPr>
      <a:lvl2pPr marL="1086684" algn="l" defTabSz="1086684" rtl="0" eaLnBrk="1" latinLnBrk="0" hangingPunct="1">
        <a:defRPr sz="4296" kern="1200">
          <a:solidFill>
            <a:schemeClr val="tx1"/>
          </a:solidFill>
          <a:latin typeface="+mn-lt"/>
          <a:ea typeface="+mn-ea"/>
          <a:cs typeface="+mn-cs"/>
        </a:defRPr>
      </a:lvl2pPr>
      <a:lvl3pPr marL="2173366" algn="l" defTabSz="1086684" rtl="0" eaLnBrk="1" latinLnBrk="0" hangingPunct="1">
        <a:defRPr sz="4296" kern="1200">
          <a:solidFill>
            <a:schemeClr val="tx1"/>
          </a:solidFill>
          <a:latin typeface="+mn-lt"/>
          <a:ea typeface="+mn-ea"/>
          <a:cs typeface="+mn-cs"/>
        </a:defRPr>
      </a:lvl3pPr>
      <a:lvl4pPr marL="3260056" algn="l" defTabSz="1086684" rtl="0" eaLnBrk="1" latinLnBrk="0" hangingPunct="1">
        <a:defRPr sz="4296" kern="1200">
          <a:solidFill>
            <a:schemeClr val="tx1"/>
          </a:solidFill>
          <a:latin typeface="+mn-lt"/>
          <a:ea typeface="+mn-ea"/>
          <a:cs typeface="+mn-cs"/>
        </a:defRPr>
      </a:lvl4pPr>
      <a:lvl5pPr marL="4346736" algn="l" defTabSz="1086684" rtl="0" eaLnBrk="1" latinLnBrk="0" hangingPunct="1">
        <a:defRPr sz="4296" kern="1200">
          <a:solidFill>
            <a:schemeClr val="tx1"/>
          </a:solidFill>
          <a:latin typeface="+mn-lt"/>
          <a:ea typeface="+mn-ea"/>
          <a:cs typeface="+mn-cs"/>
        </a:defRPr>
      </a:lvl5pPr>
      <a:lvl6pPr marL="5433420" algn="l" defTabSz="1086684" rtl="0" eaLnBrk="1" latinLnBrk="0" hangingPunct="1">
        <a:defRPr sz="4296" kern="1200">
          <a:solidFill>
            <a:schemeClr val="tx1"/>
          </a:solidFill>
          <a:latin typeface="+mn-lt"/>
          <a:ea typeface="+mn-ea"/>
          <a:cs typeface="+mn-cs"/>
        </a:defRPr>
      </a:lvl6pPr>
      <a:lvl7pPr marL="6520106" algn="l" defTabSz="1086684" rtl="0" eaLnBrk="1" latinLnBrk="0" hangingPunct="1">
        <a:defRPr sz="4296" kern="1200">
          <a:solidFill>
            <a:schemeClr val="tx1"/>
          </a:solidFill>
          <a:latin typeface="+mn-lt"/>
          <a:ea typeface="+mn-ea"/>
          <a:cs typeface="+mn-cs"/>
        </a:defRPr>
      </a:lvl7pPr>
      <a:lvl8pPr marL="7606788" algn="l" defTabSz="1086684" rtl="0" eaLnBrk="1" latinLnBrk="0" hangingPunct="1">
        <a:defRPr sz="4296" kern="1200">
          <a:solidFill>
            <a:schemeClr val="tx1"/>
          </a:solidFill>
          <a:latin typeface="+mn-lt"/>
          <a:ea typeface="+mn-ea"/>
          <a:cs typeface="+mn-cs"/>
        </a:defRPr>
      </a:lvl8pPr>
      <a:lvl9pPr marL="8693470" algn="l" defTabSz="1086684" rtl="0" eaLnBrk="1" latinLnBrk="0" hangingPunct="1">
        <a:defRPr sz="429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368">
          <p15:clr>
            <a:srgbClr val="F26B43"/>
          </p15:clr>
        </p15:guide>
        <p15:guide id="2" pos="312">
          <p15:clr>
            <a:srgbClr val="F26B43"/>
          </p15:clr>
        </p15:guide>
        <p15:guide id="3" orient="horz" pos="2160">
          <p15:clr>
            <a:srgbClr val="F26B43"/>
          </p15:clr>
        </p15:guide>
        <p15:guide id="4" pos="38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DC853CF0-1FF9-0649-8875-CA7590D98506}"/>
              </a:ext>
            </a:extLst>
          </p:cNvPr>
          <p:cNvSpPr txBox="1"/>
          <p:nvPr userDrawn="1"/>
        </p:nvSpPr>
        <p:spPr>
          <a:xfrm>
            <a:off x="18765082" y="12832249"/>
            <a:ext cx="431358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200" dirty="0">
                <a:solidFill>
                  <a:schemeClr val="bg1">
                    <a:lumMod val="50000"/>
                  </a:schemeClr>
                </a:solidFill>
              </a:rPr>
              <a:t>Seagate   |  2022  |</a:t>
            </a:r>
          </a:p>
        </p:txBody>
      </p:sp>
      <p:pic>
        <p:nvPicPr>
          <p:cNvPr id="8" name="Picture 7" descr="sgicon_transparent.png">
            <a:extLst>
              <a:ext uri="{FF2B5EF4-FFF2-40B4-BE49-F238E27FC236}">
                <a16:creationId xmlns:a16="http://schemas.microsoft.com/office/drawing/2014/main" id="{C452FFFA-E04A-5F48-8A9B-1E41509563DB}"/>
              </a:ext>
            </a:extLst>
          </p:cNvPr>
          <p:cNvPicPr>
            <a:picLocks noChangeAspect="1"/>
          </p:cNvPicPr>
          <p:nvPr userDrawn="1"/>
        </p:nvPicPr>
        <p:blipFill>
          <a:blip r:embed="rId3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678928" y="12819022"/>
            <a:ext cx="648499" cy="54967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6482268-E1F6-C843-883E-6702C2F315AC}"/>
              </a:ext>
            </a:extLst>
          </p:cNvPr>
          <p:cNvSpPr txBox="1"/>
          <p:nvPr userDrawn="1"/>
        </p:nvSpPr>
        <p:spPr>
          <a:xfrm>
            <a:off x="22808471" y="12898291"/>
            <a:ext cx="73986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3EBF4A3-DF90-A145-ABFB-48E1A00C731F}" type="slidenum">
              <a:rPr kumimoji="0" lang="en-US" sz="1600" b="0" i="0" u="none" strike="noStrike" kern="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rPr>
              <a:pPr marL="0" marR="0" lvl="0" indent="0" algn="ctr" defTabSz="91412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E85A323-54F3-ABCF-BFA6-5A4798CD7AFD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11770487" y="13563600"/>
            <a:ext cx="871538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8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agate Internal</a:t>
            </a:r>
          </a:p>
        </p:txBody>
      </p:sp>
    </p:spTree>
    <p:extLst>
      <p:ext uri="{BB962C8B-B14F-4D97-AF65-F5344CB8AC3E}">
        <p14:creationId xmlns:p14="http://schemas.microsoft.com/office/powerpoint/2010/main" val="26905589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  <p:sldLayoutId id="2147483721" r:id="rId6"/>
    <p:sldLayoutId id="2147483722" r:id="rId7"/>
    <p:sldLayoutId id="2147483723" r:id="rId8"/>
    <p:sldLayoutId id="2147483724" r:id="rId9"/>
    <p:sldLayoutId id="2147483725" r:id="rId10"/>
    <p:sldLayoutId id="2147483726" r:id="rId11"/>
    <p:sldLayoutId id="2147483727" r:id="rId12"/>
    <p:sldLayoutId id="2147483728" r:id="rId13"/>
    <p:sldLayoutId id="2147483729" r:id="rId14"/>
    <p:sldLayoutId id="2147483730" r:id="rId15"/>
    <p:sldLayoutId id="2147483731" r:id="rId16"/>
    <p:sldLayoutId id="2147483732" r:id="rId17"/>
    <p:sldLayoutId id="2147483733" r:id="rId18"/>
    <p:sldLayoutId id="2147483734" r:id="rId19"/>
    <p:sldLayoutId id="2147483735" r:id="rId20"/>
    <p:sldLayoutId id="2147483736" r:id="rId21"/>
    <p:sldLayoutId id="2147483737" r:id="rId22"/>
    <p:sldLayoutId id="2147483738" r:id="rId23"/>
    <p:sldLayoutId id="2147483739" r:id="rId24"/>
    <p:sldLayoutId id="2147483740" r:id="rId25"/>
    <p:sldLayoutId id="2147483741" r:id="rId26"/>
    <p:sldLayoutId id="2147483742" r:id="rId27"/>
    <p:sldLayoutId id="2147483743" r:id="rId28"/>
    <p:sldLayoutId id="2147483745" r:id="rId29"/>
    <p:sldLayoutId id="2147483746" r:id="rId30"/>
    <p:sldLayoutId id="2147483747" r:id="rId3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ctr" defTabSz="1086684" rtl="0" eaLnBrk="1" latinLnBrk="0" hangingPunct="1">
        <a:spcBef>
          <a:spcPct val="0"/>
        </a:spcBef>
        <a:buNone/>
        <a:defRPr sz="7998" kern="1200">
          <a:solidFill>
            <a:schemeClr val="bg2"/>
          </a:solidFill>
          <a:latin typeface="+mj-lt"/>
          <a:ea typeface="+mj-ea"/>
          <a:cs typeface="Open Sans"/>
        </a:defRPr>
      </a:lvl1pPr>
    </p:titleStyle>
    <p:bodyStyle>
      <a:lvl1pPr marL="0" indent="0" algn="l" defTabSz="1086684" rtl="0" eaLnBrk="1" latinLnBrk="0" hangingPunct="1">
        <a:lnSpc>
          <a:spcPct val="130000"/>
        </a:lnSpc>
        <a:spcBef>
          <a:spcPct val="20000"/>
        </a:spcBef>
        <a:buFont typeface="Arial"/>
        <a:buNone/>
        <a:defRPr sz="3200" kern="1200">
          <a:solidFill>
            <a:schemeClr val="tx2"/>
          </a:solidFill>
          <a:latin typeface="+mn-lt"/>
          <a:ea typeface="+mn-ea"/>
          <a:cs typeface="Open Sans Light"/>
        </a:defRPr>
      </a:lvl1pPr>
      <a:lvl2pPr marL="1086684" indent="0" algn="ctr" defTabSz="1086684" rtl="0" eaLnBrk="1" latinLnBrk="0" hangingPunct="1">
        <a:lnSpc>
          <a:spcPct val="130000"/>
        </a:lnSpc>
        <a:spcBef>
          <a:spcPct val="20000"/>
        </a:spcBef>
        <a:buFont typeface="Arial"/>
        <a:buNone/>
        <a:defRPr sz="3098" kern="1200">
          <a:solidFill>
            <a:schemeClr val="tx2"/>
          </a:solidFill>
          <a:latin typeface="Open Sans"/>
          <a:ea typeface="+mn-ea"/>
          <a:cs typeface="Open Sans"/>
        </a:defRPr>
      </a:lvl2pPr>
      <a:lvl3pPr marL="2173366" indent="0" algn="ctr" defTabSz="1086684" rtl="0" eaLnBrk="1" latinLnBrk="0" hangingPunct="1">
        <a:lnSpc>
          <a:spcPct val="130000"/>
        </a:lnSpc>
        <a:spcBef>
          <a:spcPct val="20000"/>
        </a:spcBef>
        <a:buFont typeface="Arial"/>
        <a:buNone/>
        <a:defRPr sz="3098" kern="1200">
          <a:solidFill>
            <a:schemeClr val="tx2"/>
          </a:solidFill>
          <a:latin typeface="Open Sans"/>
          <a:ea typeface="+mn-ea"/>
          <a:cs typeface="Open Sans"/>
        </a:defRPr>
      </a:lvl3pPr>
      <a:lvl4pPr marL="3260056" indent="0" algn="ctr" defTabSz="1086684" rtl="0" eaLnBrk="1" latinLnBrk="0" hangingPunct="1">
        <a:lnSpc>
          <a:spcPct val="130000"/>
        </a:lnSpc>
        <a:spcBef>
          <a:spcPct val="20000"/>
        </a:spcBef>
        <a:buFont typeface="Arial"/>
        <a:buNone/>
        <a:defRPr sz="3098" kern="1200">
          <a:solidFill>
            <a:schemeClr val="tx2"/>
          </a:solidFill>
          <a:latin typeface="Open Sans"/>
          <a:ea typeface="+mn-ea"/>
          <a:cs typeface="Open Sans"/>
        </a:defRPr>
      </a:lvl4pPr>
      <a:lvl5pPr marL="4346736" indent="0" algn="ctr" defTabSz="1086684" rtl="0" eaLnBrk="1" latinLnBrk="0" hangingPunct="1">
        <a:lnSpc>
          <a:spcPct val="130000"/>
        </a:lnSpc>
        <a:spcBef>
          <a:spcPct val="20000"/>
        </a:spcBef>
        <a:buFont typeface="Arial"/>
        <a:buNone/>
        <a:defRPr sz="3098" kern="1200">
          <a:solidFill>
            <a:schemeClr val="tx2"/>
          </a:solidFill>
          <a:latin typeface="Open Sans"/>
          <a:ea typeface="+mn-ea"/>
          <a:cs typeface="Open Sans"/>
        </a:defRPr>
      </a:lvl5pPr>
      <a:lvl6pPr marL="5976760" indent="-543342" algn="l" defTabSz="1086684" rtl="0" eaLnBrk="1" latinLnBrk="0" hangingPunct="1">
        <a:spcBef>
          <a:spcPct val="20000"/>
        </a:spcBef>
        <a:buFont typeface="Arial"/>
        <a:buChar char="•"/>
        <a:defRPr sz="4796" kern="1200">
          <a:solidFill>
            <a:schemeClr val="tx1"/>
          </a:solidFill>
          <a:latin typeface="+mn-lt"/>
          <a:ea typeface="+mn-ea"/>
          <a:cs typeface="+mn-cs"/>
        </a:defRPr>
      </a:lvl6pPr>
      <a:lvl7pPr marL="7063446" indent="-543342" algn="l" defTabSz="1086684" rtl="0" eaLnBrk="1" latinLnBrk="0" hangingPunct="1">
        <a:spcBef>
          <a:spcPct val="20000"/>
        </a:spcBef>
        <a:buFont typeface="Arial"/>
        <a:buChar char="•"/>
        <a:defRPr sz="4796" kern="1200">
          <a:solidFill>
            <a:schemeClr val="tx1"/>
          </a:solidFill>
          <a:latin typeface="+mn-lt"/>
          <a:ea typeface="+mn-ea"/>
          <a:cs typeface="+mn-cs"/>
        </a:defRPr>
      </a:lvl7pPr>
      <a:lvl8pPr marL="8150132" indent="-543342" algn="l" defTabSz="1086684" rtl="0" eaLnBrk="1" latinLnBrk="0" hangingPunct="1">
        <a:spcBef>
          <a:spcPct val="20000"/>
        </a:spcBef>
        <a:buFont typeface="Arial"/>
        <a:buChar char="•"/>
        <a:defRPr sz="4796" kern="1200">
          <a:solidFill>
            <a:schemeClr val="tx1"/>
          </a:solidFill>
          <a:latin typeface="+mn-lt"/>
          <a:ea typeface="+mn-ea"/>
          <a:cs typeface="+mn-cs"/>
        </a:defRPr>
      </a:lvl8pPr>
      <a:lvl9pPr marL="9236816" indent="-543342" algn="l" defTabSz="1086684" rtl="0" eaLnBrk="1" latinLnBrk="0" hangingPunct="1">
        <a:spcBef>
          <a:spcPct val="20000"/>
        </a:spcBef>
        <a:buFont typeface="Arial"/>
        <a:buChar char="•"/>
        <a:defRPr sz="479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6684" rtl="0" eaLnBrk="1" latinLnBrk="0" hangingPunct="1">
        <a:defRPr sz="4296" kern="1200">
          <a:solidFill>
            <a:schemeClr val="tx1"/>
          </a:solidFill>
          <a:latin typeface="+mn-lt"/>
          <a:ea typeface="+mn-ea"/>
          <a:cs typeface="+mn-cs"/>
        </a:defRPr>
      </a:lvl1pPr>
      <a:lvl2pPr marL="1086684" algn="l" defTabSz="1086684" rtl="0" eaLnBrk="1" latinLnBrk="0" hangingPunct="1">
        <a:defRPr sz="4296" kern="1200">
          <a:solidFill>
            <a:schemeClr val="tx1"/>
          </a:solidFill>
          <a:latin typeface="+mn-lt"/>
          <a:ea typeface="+mn-ea"/>
          <a:cs typeface="+mn-cs"/>
        </a:defRPr>
      </a:lvl2pPr>
      <a:lvl3pPr marL="2173366" algn="l" defTabSz="1086684" rtl="0" eaLnBrk="1" latinLnBrk="0" hangingPunct="1">
        <a:defRPr sz="4296" kern="1200">
          <a:solidFill>
            <a:schemeClr val="tx1"/>
          </a:solidFill>
          <a:latin typeface="+mn-lt"/>
          <a:ea typeface="+mn-ea"/>
          <a:cs typeface="+mn-cs"/>
        </a:defRPr>
      </a:lvl3pPr>
      <a:lvl4pPr marL="3260056" algn="l" defTabSz="1086684" rtl="0" eaLnBrk="1" latinLnBrk="0" hangingPunct="1">
        <a:defRPr sz="4296" kern="1200">
          <a:solidFill>
            <a:schemeClr val="tx1"/>
          </a:solidFill>
          <a:latin typeface="+mn-lt"/>
          <a:ea typeface="+mn-ea"/>
          <a:cs typeface="+mn-cs"/>
        </a:defRPr>
      </a:lvl4pPr>
      <a:lvl5pPr marL="4346736" algn="l" defTabSz="1086684" rtl="0" eaLnBrk="1" latinLnBrk="0" hangingPunct="1">
        <a:defRPr sz="4296" kern="1200">
          <a:solidFill>
            <a:schemeClr val="tx1"/>
          </a:solidFill>
          <a:latin typeface="+mn-lt"/>
          <a:ea typeface="+mn-ea"/>
          <a:cs typeface="+mn-cs"/>
        </a:defRPr>
      </a:lvl5pPr>
      <a:lvl6pPr marL="5433420" algn="l" defTabSz="1086684" rtl="0" eaLnBrk="1" latinLnBrk="0" hangingPunct="1">
        <a:defRPr sz="4296" kern="1200">
          <a:solidFill>
            <a:schemeClr val="tx1"/>
          </a:solidFill>
          <a:latin typeface="+mn-lt"/>
          <a:ea typeface="+mn-ea"/>
          <a:cs typeface="+mn-cs"/>
        </a:defRPr>
      </a:lvl6pPr>
      <a:lvl7pPr marL="6520106" algn="l" defTabSz="1086684" rtl="0" eaLnBrk="1" latinLnBrk="0" hangingPunct="1">
        <a:defRPr sz="4296" kern="1200">
          <a:solidFill>
            <a:schemeClr val="tx1"/>
          </a:solidFill>
          <a:latin typeface="+mn-lt"/>
          <a:ea typeface="+mn-ea"/>
          <a:cs typeface="+mn-cs"/>
        </a:defRPr>
      </a:lvl7pPr>
      <a:lvl8pPr marL="7606788" algn="l" defTabSz="1086684" rtl="0" eaLnBrk="1" latinLnBrk="0" hangingPunct="1">
        <a:defRPr sz="4296" kern="1200">
          <a:solidFill>
            <a:schemeClr val="tx1"/>
          </a:solidFill>
          <a:latin typeface="+mn-lt"/>
          <a:ea typeface="+mn-ea"/>
          <a:cs typeface="+mn-cs"/>
        </a:defRPr>
      </a:lvl8pPr>
      <a:lvl9pPr marL="8693470" algn="l" defTabSz="1086684" rtl="0" eaLnBrk="1" latinLnBrk="0" hangingPunct="1">
        <a:defRPr sz="429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6770B488-BA9A-3344-AB07-8A124E9FC89B}"/>
              </a:ext>
            </a:extLst>
          </p:cNvPr>
          <p:cNvSpPr txBox="1"/>
          <p:nvPr userDrawn="1"/>
        </p:nvSpPr>
        <p:spPr>
          <a:xfrm>
            <a:off x="18814653" y="12832248"/>
            <a:ext cx="431358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200" dirty="0">
                <a:solidFill>
                  <a:schemeClr val="bg1">
                    <a:lumMod val="50000"/>
                  </a:schemeClr>
                </a:solidFill>
              </a:rPr>
              <a:t>Seagate  |  2023</a:t>
            </a:r>
          </a:p>
        </p:txBody>
      </p:sp>
      <p:pic>
        <p:nvPicPr>
          <p:cNvPr id="3" name="Picture 2" descr="sgicon_transparent.png">
            <a:extLst>
              <a:ext uri="{FF2B5EF4-FFF2-40B4-BE49-F238E27FC236}">
                <a16:creationId xmlns:a16="http://schemas.microsoft.com/office/drawing/2014/main" id="{406AD57D-CE45-B643-953A-1F6C612E3D1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864927" y="12819022"/>
            <a:ext cx="648498" cy="549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654202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ctr" defTabSz="543505" rtl="0" eaLnBrk="1" latinLnBrk="0" hangingPunct="1">
        <a:spcBef>
          <a:spcPct val="0"/>
        </a:spcBef>
        <a:buNone/>
        <a:defRPr sz="4000" kern="1200">
          <a:solidFill>
            <a:schemeClr val="bg2"/>
          </a:solidFill>
          <a:latin typeface="+mj-lt"/>
          <a:ea typeface="+mj-ea"/>
          <a:cs typeface="Open Sans"/>
        </a:defRPr>
      </a:lvl1pPr>
    </p:titleStyle>
    <p:bodyStyle>
      <a:lvl1pPr marL="0" indent="0" algn="l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600" kern="1200">
          <a:solidFill>
            <a:schemeClr val="tx2"/>
          </a:solidFill>
          <a:latin typeface="+mn-lt"/>
          <a:ea typeface="+mn-ea"/>
          <a:cs typeface="Open Sans Light"/>
        </a:defRPr>
      </a:lvl1pPr>
      <a:lvl2pPr marL="543505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2pPr>
      <a:lvl3pPr marL="1087009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3pPr>
      <a:lvl4pPr marL="1630517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4pPr>
      <a:lvl5pPr marL="2174020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5pPr>
      <a:lvl6pPr marL="2989277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532783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076289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619794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1pPr>
      <a:lvl2pPr marL="543505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2pPr>
      <a:lvl3pPr marL="1087009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3pPr>
      <a:lvl4pPr marL="1630517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4pPr>
      <a:lvl5pPr marL="2174020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5pPr>
      <a:lvl6pPr marL="2717525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6pPr>
      <a:lvl7pPr marL="3261031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7pPr>
      <a:lvl8pPr marL="3804535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8pPr>
      <a:lvl9pPr marL="4348039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680" userDrawn="1">
          <p15:clr>
            <a:srgbClr val="F26B43"/>
          </p15:clr>
        </p15:guide>
        <p15:guide id="2" orient="horz" pos="4320" userDrawn="1">
          <p15:clr>
            <a:srgbClr val="F26B43"/>
          </p15:clr>
        </p15:guide>
        <p15:guide id="3" pos="14736" userDrawn="1">
          <p15:clr>
            <a:srgbClr val="F26B43"/>
          </p15:clr>
        </p15:guide>
        <p15:guide id="4" pos="624" userDrawn="1">
          <p15:clr>
            <a:srgbClr val="F26B43"/>
          </p15:clr>
        </p15:guide>
        <p15:guide id="5" orient="horz" pos="1008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SIPCMContentMarking" descr="{&quot;HashCode&quot;:1618949231,&quot;Placement&quot;:&quot;Footer&quot;,&quot;Top&quot;:519.343,&quot;Left&quot;:435.556061,&quot;SlideWidth&quot;:960,&quot;SlideHeight&quot;:540}"/>
          <p:cNvSpPr txBox="1"/>
          <p:nvPr userDrawn="1"/>
        </p:nvSpPr>
        <p:spPr>
          <a:xfrm>
            <a:off x="11063125" y="13299768"/>
            <a:ext cx="3129614" cy="307776"/>
          </a:xfrm>
          <a:prstGeom prst="rect">
            <a:avLst/>
          </a:prstGeom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2000" dirty="0">
                <a:solidFill>
                  <a:srgbClr val="008000"/>
                </a:solidFill>
                <a:latin typeface="Calibri" panose="020F0502020204030204" pitchFamily="34" charset="0"/>
              </a:rPr>
              <a:t>Approved for External Use</a:t>
            </a:r>
          </a:p>
        </p:txBody>
      </p:sp>
    </p:spTree>
    <p:extLst>
      <p:ext uri="{BB962C8B-B14F-4D97-AF65-F5344CB8AC3E}">
        <p14:creationId xmlns:p14="http://schemas.microsoft.com/office/powerpoint/2010/main" val="35735841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ctr" defTabSz="543505" rtl="0" eaLnBrk="1" latinLnBrk="0" hangingPunct="1">
        <a:spcBef>
          <a:spcPct val="0"/>
        </a:spcBef>
        <a:buNone/>
        <a:defRPr sz="4000" kern="1200">
          <a:solidFill>
            <a:schemeClr val="bg2"/>
          </a:solidFill>
          <a:latin typeface="+mj-lt"/>
          <a:ea typeface="+mj-ea"/>
          <a:cs typeface="Open Sans"/>
        </a:defRPr>
      </a:lvl1pPr>
    </p:titleStyle>
    <p:bodyStyle>
      <a:lvl1pPr marL="0" indent="0" algn="l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600" kern="1200">
          <a:solidFill>
            <a:schemeClr val="tx2"/>
          </a:solidFill>
          <a:latin typeface="+mn-lt"/>
          <a:ea typeface="+mn-ea"/>
          <a:cs typeface="Open Sans Light"/>
        </a:defRPr>
      </a:lvl1pPr>
      <a:lvl2pPr marL="543505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2pPr>
      <a:lvl3pPr marL="1087009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3pPr>
      <a:lvl4pPr marL="1630517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4pPr>
      <a:lvl5pPr marL="2174020" indent="0" algn="ctr" defTabSz="543505" rtl="0" eaLnBrk="1" latinLnBrk="0" hangingPunct="1">
        <a:lnSpc>
          <a:spcPct val="130000"/>
        </a:lnSpc>
        <a:spcBef>
          <a:spcPct val="20000"/>
        </a:spcBef>
        <a:buFont typeface="Arial"/>
        <a:buNone/>
        <a:defRPr sz="1549" kern="1200">
          <a:solidFill>
            <a:schemeClr val="tx2"/>
          </a:solidFill>
          <a:latin typeface="Open Sans"/>
          <a:ea typeface="+mn-ea"/>
          <a:cs typeface="Open Sans"/>
        </a:defRPr>
      </a:lvl5pPr>
      <a:lvl6pPr marL="2989277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532783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076289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619794" indent="-271753" algn="l" defTabSz="543505" rtl="0" eaLnBrk="1" latinLnBrk="0" hangingPunct="1">
        <a:spcBef>
          <a:spcPct val="20000"/>
        </a:spcBef>
        <a:buFont typeface="Arial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1pPr>
      <a:lvl2pPr marL="543505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2pPr>
      <a:lvl3pPr marL="1087009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3pPr>
      <a:lvl4pPr marL="1630517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4pPr>
      <a:lvl5pPr marL="2174020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5pPr>
      <a:lvl6pPr marL="2717525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6pPr>
      <a:lvl7pPr marL="3261031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7pPr>
      <a:lvl8pPr marL="3804535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8pPr>
      <a:lvl9pPr marL="4348039" algn="l" defTabSz="543505" rtl="0" eaLnBrk="1" latinLnBrk="0" hangingPunct="1">
        <a:defRPr sz="21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680" userDrawn="1">
          <p15:clr>
            <a:srgbClr val="F26B43"/>
          </p15:clr>
        </p15:guide>
        <p15:guide id="2" orient="horz" pos="4320" userDrawn="1">
          <p15:clr>
            <a:srgbClr val="F26B43"/>
          </p15:clr>
        </p15:guide>
        <p15:guide id="3" pos="14736" userDrawn="1">
          <p15:clr>
            <a:srgbClr val="F26B43"/>
          </p15:clr>
        </p15:guide>
        <p15:guide id="4" pos="624" userDrawn="1">
          <p15:clr>
            <a:srgbClr val="F26B43"/>
          </p15:clr>
        </p15:guide>
        <p15:guide id="5" orient="horz" pos="1056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835256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3" r:id="rId1"/>
    <p:sldLayoutId id="2147483824" r:id="rId2"/>
    <p:sldLayoutId id="2147483825" r:id="rId3"/>
    <p:sldLayoutId id="2147483826" r:id="rId4"/>
    <p:sldLayoutId id="2147483827" r:id="rId5"/>
    <p:sldLayoutId id="2147483828" r:id="rId6"/>
    <p:sldLayoutId id="2147483829" r:id="rId7"/>
    <p:sldLayoutId id="2147483830" r:id="rId8"/>
    <p:sldLayoutId id="2147483831" r:id="rId9"/>
    <p:sldLayoutId id="2147483832" r:id="rId10"/>
    <p:sldLayoutId id="2147483833" r:id="rId11"/>
    <p:sldLayoutId id="2147483834" r:id="rId12"/>
    <p:sldLayoutId id="2147483835" r:id="rId13"/>
    <p:sldLayoutId id="2147483836" r:id="rId14"/>
    <p:sldLayoutId id="2147483837" r:id="rId15"/>
    <p:sldLayoutId id="2147483838" r:id="rId16"/>
    <p:sldLayoutId id="2147483839" r:id="rId1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hf hdr="0" dt="0"/>
  <p:txStyles>
    <p:titleStyle>
      <a:lvl1pPr algn="ctr" defTabSz="1087010" rtl="0" eaLnBrk="1" latinLnBrk="0" hangingPunct="1">
        <a:spcBef>
          <a:spcPct val="0"/>
        </a:spcBef>
        <a:buNone/>
        <a:defRPr sz="8000" kern="1200">
          <a:solidFill>
            <a:schemeClr val="bg2"/>
          </a:solidFill>
          <a:latin typeface="+mj-lt"/>
          <a:ea typeface="+mj-ea"/>
          <a:cs typeface="Open Sans"/>
        </a:defRPr>
      </a:lvl1pPr>
    </p:titleStyle>
    <p:bodyStyle>
      <a:lvl1pPr marL="0" indent="0" algn="l" defTabSz="1087010" rtl="0" eaLnBrk="1" latinLnBrk="0" hangingPunct="1">
        <a:lnSpc>
          <a:spcPct val="130000"/>
        </a:lnSpc>
        <a:spcBef>
          <a:spcPct val="20000"/>
        </a:spcBef>
        <a:buFont typeface="Arial"/>
        <a:buNone/>
        <a:defRPr sz="3200" kern="1200">
          <a:solidFill>
            <a:schemeClr val="tx2"/>
          </a:solidFill>
          <a:latin typeface="+mn-lt"/>
          <a:ea typeface="+mn-ea"/>
          <a:cs typeface="Open Sans Light"/>
        </a:defRPr>
      </a:lvl1pPr>
      <a:lvl2pPr marL="1087010" indent="0" algn="ctr" defTabSz="1087010" rtl="0" eaLnBrk="1" latinLnBrk="0" hangingPunct="1">
        <a:lnSpc>
          <a:spcPct val="130000"/>
        </a:lnSpc>
        <a:spcBef>
          <a:spcPct val="20000"/>
        </a:spcBef>
        <a:buFont typeface="Arial"/>
        <a:buNone/>
        <a:defRPr sz="3098" kern="1200">
          <a:solidFill>
            <a:schemeClr val="tx2"/>
          </a:solidFill>
          <a:latin typeface="Open Sans"/>
          <a:ea typeface="+mn-ea"/>
          <a:cs typeface="Open Sans"/>
        </a:defRPr>
      </a:lvl2pPr>
      <a:lvl3pPr marL="2174018" indent="0" algn="ctr" defTabSz="1087010" rtl="0" eaLnBrk="1" latinLnBrk="0" hangingPunct="1">
        <a:lnSpc>
          <a:spcPct val="130000"/>
        </a:lnSpc>
        <a:spcBef>
          <a:spcPct val="20000"/>
        </a:spcBef>
        <a:buFont typeface="Arial"/>
        <a:buNone/>
        <a:defRPr sz="3098" kern="1200">
          <a:solidFill>
            <a:schemeClr val="tx2"/>
          </a:solidFill>
          <a:latin typeface="Open Sans"/>
          <a:ea typeface="+mn-ea"/>
          <a:cs typeface="Open Sans"/>
        </a:defRPr>
      </a:lvl3pPr>
      <a:lvl4pPr marL="3261034" indent="0" algn="ctr" defTabSz="1087010" rtl="0" eaLnBrk="1" latinLnBrk="0" hangingPunct="1">
        <a:lnSpc>
          <a:spcPct val="130000"/>
        </a:lnSpc>
        <a:spcBef>
          <a:spcPct val="20000"/>
        </a:spcBef>
        <a:buFont typeface="Arial"/>
        <a:buNone/>
        <a:defRPr sz="3098" kern="1200">
          <a:solidFill>
            <a:schemeClr val="tx2"/>
          </a:solidFill>
          <a:latin typeface="Open Sans"/>
          <a:ea typeface="+mn-ea"/>
          <a:cs typeface="Open Sans"/>
        </a:defRPr>
      </a:lvl4pPr>
      <a:lvl5pPr marL="4348040" indent="0" algn="ctr" defTabSz="1087010" rtl="0" eaLnBrk="1" latinLnBrk="0" hangingPunct="1">
        <a:lnSpc>
          <a:spcPct val="130000"/>
        </a:lnSpc>
        <a:spcBef>
          <a:spcPct val="20000"/>
        </a:spcBef>
        <a:buFont typeface="Arial"/>
        <a:buNone/>
        <a:defRPr sz="3098" kern="1200">
          <a:solidFill>
            <a:schemeClr val="tx2"/>
          </a:solidFill>
          <a:latin typeface="Open Sans"/>
          <a:ea typeface="+mn-ea"/>
          <a:cs typeface="Open Sans"/>
        </a:defRPr>
      </a:lvl5pPr>
      <a:lvl6pPr marL="5978554" indent="-543506" algn="l" defTabSz="1087010" rtl="0" eaLnBrk="1" latinLnBrk="0" hangingPunct="1">
        <a:spcBef>
          <a:spcPct val="20000"/>
        </a:spcBef>
        <a:buFont typeface="Arial"/>
        <a:buChar char="•"/>
        <a:defRPr sz="4798" kern="1200">
          <a:solidFill>
            <a:schemeClr val="tx1"/>
          </a:solidFill>
          <a:latin typeface="+mn-lt"/>
          <a:ea typeface="+mn-ea"/>
          <a:cs typeface="+mn-cs"/>
        </a:defRPr>
      </a:lvl6pPr>
      <a:lvl7pPr marL="7065566" indent="-543506" algn="l" defTabSz="1087010" rtl="0" eaLnBrk="1" latinLnBrk="0" hangingPunct="1">
        <a:spcBef>
          <a:spcPct val="20000"/>
        </a:spcBef>
        <a:buFont typeface="Arial"/>
        <a:buChar char="•"/>
        <a:defRPr sz="4798" kern="1200">
          <a:solidFill>
            <a:schemeClr val="tx1"/>
          </a:solidFill>
          <a:latin typeface="+mn-lt"/>
          <a:ea typeface="+mn-ea"/>
          <a:cs typeface="+mn-cs"/>
        </a:defRPr>
      </a:lvl7pPr>
      <a:lvl8pPr marL="8152578" indent="-543506" algn="l" defTabSz="1087010" rtl="0" eaLnBrk="1" latinLnBrk="0" hangingPunct="1">
        <a:spcBef>
          <a:spcPct val="20000"/>
        </a:spcBef>
        <a:buFont typeface="Arial"/>
        <a:buChar char="•"/>
        <a:defRPr sz="4798" kern="1200">
          <a:solidFill>
            <a:schemeClr val="tx1"/>
          </a:solidFill>
          <a:latin typeface="+mn-lt"/>
          <a:ea typeface="+mn-ea"/>
          <a:cs typeface="+mn-cs"/>
        </a:defRPr>
      </a:lvl8pPr>
      <a:lvl9pPr marL="9239588" indent="-543506" algn="l" defTabSz="1087010" rtl="0" eaLnBrk="1" latinLnBrk="0" hangingPunct="1">
        <a:spcBef>
          <a:spcPct val="20000"/>
        </a:spcBef>
        <a:buFont typeface="Arial"/>
        <a:buChar char="•"/>
        <a:defRPr sz="479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7010" rtl="0" eaLnBrk="1" latinLnBrk="0" hangingPunct="1">
        <a:defRPr sz="4298" kern="1200">
          <a:solidFill>
            <a:schemeClr val="tx1"/>
          </a:solidFill>
          <a:latin typeface="+mn-lt"/>
          <a:ea typeface="+mn-ea"/>
          <a:cs typeface="+mn-cs"/>
        </a:defRPr>
      </a:lvl1pPr>
      <a:lvl2pPr marL="1087010" algn="l" defTabSz="1087010" rtl="0" eaLnBrk="1" latinLnBrk="0" hangingPunct="1">
        <a:defRPr sz="4298" kern="1200">
          <a:solidFill>
            <a:schemeClr val="tx1"/>
          </a:solidFill>
          <a:latin typeface="+mn-lt"/>
          <a:ea typeface="+mn-ea"/>
          <a:cs typeface="+mn-cs"/>
        </a:defRPr>
      </a:lvl2pPr>
      <a:lvl3pPr marL="2174018" algn="l" defTabSz="1087010" rtl="0" eaLnBrk="1" latinLnBrk="0" hangingPunct="1">
        <a:defRPr sz="4298" kern="1200">
          <a:solidFill>
            <a:schemeClr val="tx1"/>
          </a:solidFill>
          <a:latin typeface="+mn-lt"/>
          <a:ea typeface="+mn-ea"/>
          <a:cs typeface="+mn-cs"/>
        </a:defRPr>
      </a:lvl3pPr>
      <a:lvl4pPr marL="3261034" algn="l" defTabSz="1087010" rtl="0" eaLnBrk="1" latinLnBrk="0" hangingPunct="1">
        <a:defRPr sz="4298" kern="1200">
          <a:solidFill>
            <a:schemeClr val="tx1"/>
          </a:solidFill>
          <a:latin typeface="+mn-lt"/>
          <a:ea typeface="+mn-ea"/>
          <a:cs typeface="+mn-cs"/>
        </a:defRPr>
      </a:lvl4pPr>
      <a:lvl5pPr marL="4348040" algn="l" defTabSz="1087010" rtl="0" eaLnBrk="1" latinLnBrk="0" hangingPunct="1">
        <a:defRPr sz="4298" kern="1200">
          <a:solidFill>
            <a:schemeClr val="tx1"/>
          </a:solidFill>
          <a:latin typeface="+mn-lt"/>
          <a:ea typeface="+mn-ea"/>
          <a:cs typeface="+mn-cs"/>
        </a:defRPr>
      </a:lvl5pPr>
      <a:lvl6pPr marL="5435050" algn="l" defTabSz="1087010" rtl="0" eaLnBrk="1" latinLnBrk="0" hangingPunct="1">
        <a:defRPr sz="4298" kern="1200">
          <a:solidFill>
            <a:schemeClr val="tx1"/>
          </a:solidFill>
          <a:latin typeface="+mn-lt"/>
          <a:ea typeface="+mn-ea"/>
          <a:cs typeface="+mn-cs"/>
        </a:defRPr>
      </a:lvl6pPr>
      <a:lvl7pPr marL="6522062" algn="l" defTabSz="1087010" rtl="0" eaLnBrk="1" latinLnBrk="0" hangingPunct="1">
        <a:defRPr sz="4298" kern="1200">
          <a:solidFill>
            <a:schemeClr val="tx1"/>
          </a:solidFill>
          <a:latin typeface="+mn-lt"/>
          <a:ea typeface="+mn-ea"/>
          <a:cs typeface="+mn-cs"/>
        </a:defRPr>
      </a:lvl7pPr>
      <a:lvl8pPr marL="7609070" algn="l" defTabSz="1087010" rtl="0" eaLnBrk="1" latinLnBrk="0" hangingPunct="1">
        <a:defRPr sz="4298" kern="1200">
          <a:solidFill>
            <a:schemeClr val="tx1"/>
          </a:solidFill>
          <a:latin typeface="+mn-lt"/>
          <a:ea typeface="+mn-ea"/>
          <a:cs typeface="+mn-cs"/>
        </a:defRPr>
      </a:lvl8pPr>
      <a:lvl9pPr marL="8696078" algn="l" defTabSz="1087010" rtl="0" eaLnBrk="1" latinLnBrk="0" hangingPunct="1">
        <a:defRPr sz="42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8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7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7.xml"/><Relationship Id="rId5" Type="http://schemas.openxmlformats.org/officeDocument/2006/relationships/image" Target="../media/image87.png"/><Relationship Id="rId4" Type="http://schemas.openxmlformats.org/officeDocument/2006/relationships/image" Target="../media/image8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7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7.xml"/><Relationship Id="rId6" Type="http://schemas.openxmlformats.org/officeDocument/2006/relationships/image" Target="../media/image63.png"/><Relationship Id="rId5" Type="http://schemas.openxmlformats.org/officeDocument/2006/relationships/image" Target="../media/image64.png"/><Relationship Id="rId4" Type="http://schemas.openxmlformats.org/officeDocument/2006/relationships/image" Target="../media/image62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7" Type="http://schemas.openxmlformats.org/officeDocument/2006/relationships/image" Target="../media/image6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7.xml"/><Relationship Id="rId6" Type="http://schemas.openxmlformats.org/officeDocument/2006/relationships/image" Target="../media/image64.png"/><Relationship Id="rId5" Type="http://schemas.openxmlformats.org/officeDocument/2006/relationships/image" Target="../media/image72.png"/><Relationship Id="rId4" Type="http://schemas.openxmlformats.org/officeDocument/2006/relationships/image" Target="../media/image62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7" Type="http://schemas.openxmlformats.org/officeDocument/2006/relationships/image" Target="../media/image6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7.xml"/><Relationship Id="rId6" Type="http://schemas.openxmlformats.org/officeDocument/2006/relationships/image" Target="../media/image64.png"/><Relationship Id="rId5" Type="http://schemas.openxmlformats.org/officeDocument/2006/relationships/image" Target="../media/image72.png"/><Relationship Id="rId4" Type="http://schemas.openxmlformats.org/officeDocument/2006/relationships/image" Target="../media/image62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png"/><Relationship Id="rId3" Type="http://schemas.openxmlformats.org/officeDocument/2006/relationships/image" Target="../media/image59.png"/><Relationship Id="rId7" Type="http://schemas.openxmlformats.org/officeDocument/2006/relationships/image" Target="../media/image63.png"/><Relationship Id="rId2" Type="http://schemas.openxmlformats.org/officeDocument/2006/relationships/image" Target="../media/image58.emf"/><Relationship Id="rId1" Type="http://schemas.openxmlformats.org/officeDocument/2006/relationships/slideLayout" Target="../slideLayouts/slideLayout73.xml"/><Relationship Id="rId6" Type="http://schemas.openxmlformats.org/officeDocument/2006/relationships/image" Target="../media/image62.png"/><Relationship Id="rId5" Type="http://schemas.openxmlformats.org/officeDocument/2006/relationships/image" Target="../media/image61.png"/><Relationship Id="rId4" Type="http://schemas.openxmlformats.org/officeDocument/2006/relationships/image" Target="../media/image60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8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91.png"/><Relationship Id="rId4" Type="http://schemas.openxmlformats.org/officeDocument/2006/relationships/image" Target="../media/image79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9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9.png"/><Relationship Id="rId4" Type="http://schemas.openxmlformats.org/officeDocument/2006/relationships/image" Target="../media/image92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png"/><Relationship Id="rId3" Type="http://schemas.openxmlformats.org/officeDocument/2006/relationships/hyperlink" Target="https://link.osnexus.com/stx-scale-up" TargetMode="External"/><Relationship Id="rId7" Type="http://schemas.openxmlformats.org/officeDocument/2006/relationships/image" Target="../media/image64.png"/><Relationship Id="rId2" Type="http://schemas.openxmlformats.org/officeDocument/2006/relationships/hyperlink" Target="https://link.osnexus.com/stx-scale-out" TargetMode="External"/><Relationship Id="rId1" Type="http://schemas.openxmlformats.org/officeDocument/2006/relationships/slideLayout" Target="../slideLayouts/slideLayout25.xml"/><Relationship Id="rId6" Type="http://schemas.openxmlformats.org/officeDocument/2006/relationships/hyperlink" Target="https://www.osnexus.com/" TargetMode="External"/><Relationship Id="rId5" Type="http://schemas.openxmlformats.org/officeDocument/2006/relationships/hyperlink" Target="https://www.seagate.com/solutions/osnexus/" TargetMode="External"/><Relationship Id="rId4" Type="http://schemas.openxmlformats.org/officeDocument/2006/relationships/hyperlink" Target="mailto:info@osnexus.com" TargetMode="Externa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png"/><Relationship Id="rId3" Type="http://schemas.openxmlformats.org/officeDocument/2006/relationships/image" Target="../media/image60.png"/><Relationship Id="rId7" Type="http://schemas.openxmlformats.org/officeDocument/2006/relationships/image" Target="../media/image67.png"/><Relationship Id="rId12" Type="http://schemas.openxmlformats.org/officeDocument/2006/relationships/image" Target="../media/image72.pn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86.xml"/><Relationship Id="rId6" Type="http://schemas.openxmlformats.org/officeDocument/2006/relationships/image" Target="../media/image66.png"/><Relationship Id="rId11" Type="http://schemas.openxmlformats.org/officeDocument/2006/relationships/image" Target="../media/image71.png"/><Relationship Id="rId5" Type="http://schemas.openxmlformats.org/officeDocument/2006/relationships/image" Target="../media/image65.png"/><Relationship Id="rId10" Type="http://schemas.openxmlformats.org/officeDocument/2006/relationships/image" Target="../media/image70.png"/><Relationship Id="rId4" Type="http://schemas.openxmlformats.org/officeDocument/2006/relationships/image" Target="../media/image62.png"/><Relationship Id="rId9" Type="http://schemas.openxmlformats.org/officeDocument/2006/relationships/image" Target="../media/image69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7" Type="http://schemas.openxmlformats.org/officeDocument/2006/relationships/image" Target="../media/image76.png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77.xml"/><Relationship Id="rId6" Type="http://schemas.openxmlformats.org/officeDocument/2006/relationships/image" Target="../media/image75.png"/><Relationship Id="rId5" Type="http://schemas.openxmlformats.org/officeDocument/2006/relationships/image" Target="../media/image62.png"/><Relationship Id="rId4" Type="http://schemas.openxmlformats.org/officeDocument/2006/relationships/image" Target="../media/image61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png"/><Relationship Id="rId3" Type="http://schemas.openxmlformats.org/officeDocument/2006/relationships/image" Target="../media/image60.png"/><Relationship Id="rId7" Type="http://schemas.openxmlformats.org/officeDocument/2006/relationships/image" Target="../media/image64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86.xml"/><Relationship Id="rId6" Type="http://schemas.openxmlformats.org/officeDocument/2006/relationships/image" Target="../media/image76.png"/><Relationship Id="rId5" Type="http://schemas.openxmlformats.org/officeDocument/2006/relationships/image" Target="../media/image61.png"/><Relationship Id="rId4" Type="http://schemas.openxmlformats.org/officeDocument/2006/relationships/image" Target="../media/image6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6.xml"/><Relationship Id="rId6" Type="http://schemas.openxmlformats.org/officeDocument/2006/relationships/image" Target="../media/image79.png"/><Relationship Id="rId5" Type="http://schemas.openxmlformats.org/officeDocument/2006/relationships/image" Target="../media/image62.png"/><Relationship Id="rId4" Type="http://schemas.openxmlformats.org/officeDocument/2006/relationships/image" Target="../media/image7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84.xml"/><Relationship Id="rId4" Type="http://schemas.openxmlformats.org/officeDocument/2006/relationships/image" Target="../media/image6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86.xml"/><Relationship Id="rId5" Type="http://schemas.openxmlformats.org/officeDocument/2006/relationships/image" Target="../media/image84.png"/><Relationship Id="rId4" Type="http://schemas.openxmlformats.org/officeDocument/2006/relationships/image" Target="../media/image83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png"/><Relationship Id="rId3" Type="http://schemas.openxmlformats.org/officeDocument/2006/relationships/image" Target="../media/image69.svg"/><Relationship Id="rId7" Type="http://schemas.openxmlformats.org/officeDocument/2006/relationships/image" Target="../media/image65.pn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86.xml"/><Relationship Id="rId6" Type="http://schemas.openxmlformats.org/officeDocument/2006/relationships/image" Target="../media/image61.png"/><Relationship Id="rId5" Type="http://schemas.openxmlformats.org/officeDocument/2006/relationships/image" Target="../media/image60.png"/><Relationship Id="rId10" Type="http://schemas.openxmlformats.org/officeDocument/2006/relationships/image" Target="../media/image63.png"/><Relationship Id="rId4" Type="http://schemas.openxmlformats.org/officeDocument/2006/relationships/image" Target="../media/image70.png"/><Relationship Id="rId9" Type="http://schemas.openxmlformats.org/officeDocument/2006/relationships/image" Target="../media/image6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CBEC9DE9-8805-D0FB-E91F-DD82AF2EBBC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0626" y="123568"/>
            <a:ext cx="24164324" cy="13592432"/>
          </a:xfrm>
          <a:prstGeom prst="rect">
            <a:avLst/>
          </a:prstGeo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C076ED8-4DAF-51C7-189B-AEB425DCCA3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9348" y="8686741"/>
            <a:ext cx="13705303" cy="2018980"/>
          </a:xfrm>
        </p:spPr>
        <p:txBody>
          <a:bodyPr/>
          <a:lstStyle/>
          <a:p>
            <a:pPr algn="ctr"/>
            <a:r>
              <a:rPr lang="en-US" dirty="0"/>
              <a:t>Capturing Next Gen Storage Efficiencies</a:t>
            </a:r>
          </a:p>
        </p:txBody>
      </p:sp>
    </p:spTree>
    <p:extLst>
      <p:ext uri="{BB962C8B-B14F-4D97-AF65-F5344CB8AC3E}">
        <p14:creationId xmlns:p14="http://schemas.microsoft.com/office/powerpoint/2010/main" val="4006091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11675A6-A0F7-E97F-22D2-AC3CEEB7A5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93334" y="4998926"/>
            <a:ext cx="8305799" cy="3738674"/>
          </a:xfrm>
        </p:spPr>
        <p:txBody>
          <a:bodyPr/>
          <a:lstStyle/>
          <a:p>
            <a:r>
              <a:rPr lang="en-US" sz="6600" dirty="0"/>
              <a:t>Scale-out Object Storage Overview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3FBBCD5D-FB01-25D7-F1E4-DE7DE4FD29E0}"/>
              </a:ext>
            </a:extLst>
          </p:cNvPr>
          <p:cNvGrpSpPr/>
          <p:nvPr/>
        </p:nvGrpSpPr>
        <p:grpSpPr>
          <a:xfrm>
            <a:off x="12793655" y="2827900"/>
            <a:ext cx="2361110" cy="7583316"/>
            <a:chOff x="3891924" y="2148171"/>
            <a:chExt cx="1180555" cy="3791658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D69CB663-26DD-514B-047F-5174C2B783B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891926" y="2148171"/>
              <a:ext cx="1180553" cy="1263192"/>
            </a:xfrm>
            <a:prstGeom prst="rect">
              <a:avLst/>
            </a:prstGeom>
          </p:spPr>
        </p:pic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8DBCBBB5-0543-7706-1794-228DC00FB14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891924" y="3413445"/>
              <a:ext cx="1180553" cy="1263192"/>
            </a:xfrm>
            <a:prstGeom prst="rect">
              <a:avLst/>
            </a:prstGeom>
          </p:spPr>
        </p:pic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56F62949-E429-2E2D-342A-3DAC54B4CCB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891926" y="4676637"/>
              <a:ext cx="1180553" cy="1263192"/>
            </a:xfrm>
            <a:prstGeom prst="rect">
              <a:avLst/>
            </a:prstGeom>
          </p:spPr>
        </p:pic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3BEBD083-BD6A-7B09-E546-C7A18565C5B2}"/>
              </a:ext>
            </a:extLst>
          </p:cNvPr>
          <p:cNvGrpSpPr/>
          <p:nvPr/>
        </p:nvGrpSpPr>
        <p:grpSpPr>
          <a:xfrm>
            <a:off x="15205561" y="2813654"/>
            <a:ext cx="2361110" cy="7583316"/>
            <a:chOff x="3891924" y="2148171"/>
            <a:chExt cx="1180555" cy="3791658"/>
          </a:xfrm>
        </p:grpSpPr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D1155F44-2810-33EC-87CC-36EEE4B4F65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891926" y="2148171"/>
              <a:ext cx="1180553" cy="1263192"/>
            </a:xfrm>
            <a:prstGeom prst="rect">
              <a:avLst/>
            </a:prstGeom>
          </p:spPr>
        </p:pic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B6C46495-3665-099F-4688-ACB4DA50085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891924" y="3413445"/>
              <a:ext cx="1180553" cy="1263192"/>
            </a:xfrm>
            <a:prstGeom prst="rect">
              <a:avLst/>
            </a:prstGeom>
          </p:spPr>
        </p:pic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12A257CD-CC1D-7E93-2036-50E5B78B5CE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891926" y="4676637"/>
              <a:ext cx="1180553" cy="1263192"/>
            </a:xfrm>
            <a:prstGeom prst="rect">
              <a:avLst/>
            </a:prstGeom>
          </p:spPr>
        </p:pic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D71FD442-657D-3E32-2A0D-8E15F74DA374}"/>
              </a:ext>
            </a:extLst>
          </p:cNvPr>
          <p:cNvGrpSpPr/>
          <p:nvPr/>
        </p:nvGrpSpPr>
        <p:grpSpPr>
          <a:xfrm>
            <a:off x="17617463" y="2813654"/>
            <a:ext cx="2361110" cy="7583316"/>
            <a:chOff x="3891924" y="2148171"/>
            <a:chExt cx="1180555" cy="3791658"/>
          </a:xfrm>
        </p:grpSpPr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2F58F218-375C-87DA-7C20-81505B8EFDB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891926" y="2148171"/>
              <a:ext cx="1180553" cy="1263192"/>
            </a:xfrm>
            <a:prstGeom prst="rect">
              <a:avLst/>
            </a:prstGeom>
          </p:spPr>
        </p:pic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456F17D9-16F9-D1F1-B3AE-3548A1434E1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891924" y="3413445"/>
              <a:ext cx="1180553" cy="1263192"/>
            </a:xfrm>
            <a:prstGeom prst="rect">
              <a:avLst/>
            </a:prstGeom>
          </p:spPr>
        </p:pic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64C2A546-A6B9-95EB-1A64-07CC73099AB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891926" y="4676637"/>
              <a:ext cx="1180553" cy="1263192"/>
            </a:xfrm>
            <a:prstGeom prst="rect">
              <a:avLst/>
            </a:prstGeom>
          </p:spPr>
        </p:pic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1747A905-6B04-1AC1-6574-2FE28CCE0631}"/>
              </a:ext>
            </a:extLst>
          </p:cNvPr>
          <p:cNvGrpSpPr/>
          <p:nvPr/>
        </p:nvGrpSpPr>
        <p:grpSpPr>
          <a:xfrm>
            <a:off x="20029361" y="2813654"/>
            <a:ext cx="2361110" cy="7583316"/>
            <a:chOff x="3891924" y="2148171"/>
            <a:chExt cx="1180555" cy="3791658"/>
          </a:xfrm>
        </p:grpSpPr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DEAC064E-7362-643F-70B1-94BBF43C5D9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891926" y="2148171"/>
              <a:ext cx="1180553" cy="1263192"/>
            </a:xfrm>
            <a:prstGeom prst="rect">
              <a:avLst/>
            </a:prstGeom>
          </p:spPr>
        </p:pic>
        <p:pic>
          <p:nvPicPr>
            <p:cNvPr id="33" name="Picture 32">
              <a:extLst>
                <a:ext uri="{FF2B5EF4-FFF2-40B4-BE49-F238E27FC236}">
                  <a16:creationId xmlns:a16="http://schemas.microsoft.com/office/drawing/2014/main" id="{7D3B737D-3032-C8CC-A8B0-5EA19324540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891924" y="3413445"/>
              <a:ext cx="1180553" cy="1263192"/>
            </a:xfrm>
            <a:prstGeom prst="rect">
              <a:avLst/>
            </a:prstGeom>
          </p:spPr>
        </p:pic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88C169AB-1FFF-E426-0891-5A72AD6610B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891926" y="4676637"/>
              <a:ext cx="1180553" cy="1263192"/>
            </a:xfrm>
            <a:prstGeom prst="rect">
              <a:avLst/>
            </a:prstGeom>
          </p:spPr>
        </p:pic>
      </p:grpSp>
      <p:sp>
        <p:nvSpPr>
          <p:cNvPr id="35" name="TextBox 34">
            <a:extLst>
              <a:ext uri="{FF2B5EF4-FFF2-40B4-BE49-F238E27FC236}">
                <a16:creationId xmlns:a16="http://schemas.microsoft.com/office/drawing/2014/main" id="{D27F09DD-C0F9-EBD6-745D-6C9192282629}"/>
              </a:ext>
            </a:extLst>
          </p:cNvPr>
          <p:cNvSpPr txBox="1"/>
          <p:nvPr/>
        </p:nvSpPr>
        <p:spPr>
          <a:xfrm>
            <a:off x="12793658" y="10591479"/>
            <a:ext cx="9596808" cy="830997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</a:rPr>
              <a:t>Scale-out Object Storage</a:t>
            </a:r>
          </a:p>
          <a:p>
            <a:pPr algn="ctr"/>
            <a:r>
              <a:rPr lang="en-US" sz="2400" dirty="0">
                <a:solidFill>
                  <a:schemeClr val="bg1"/>
                </a:solidFill>
              </a:rPr>
              <a:t>w/ Intelligent Auto-tiering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3515BE6E-C6CA-100C-A15D-BF8465293AC7}"/>
              </a:ext>
            </a:extLst>
          </p:cNvPr>
          <p:cNvSpPr/>
          <p:nvPr/>
        </p:nvSpPr>
        <p:spPr>
          <a:xfrm>
            <a:off x="12946375" y="3032343"/>
            <a:ext cx="9230074" cy="7211518"/>
          </a:xfrm>
          <a:prstGeom prst="rect">
            <a:avLst/>
          </a:prstGeom>
          <a:solidFill>
            <a:schemeClr val="accent2">
              <a:alpha val="5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>
                <a:latin typeface="Open Sans Light"/>
              </a:rPr>
              <a:t>OBJECT STORAGE ZONE</a:t>
            </a:r>
          </a:p>
          <a:p>
            <a:pPr algn="ctr"/>
            <a:r>
              <a:rPr lang="en-US" sz="4800" b="1" dirty="0">
                <a:latin typeface="Open Sans Light"/>
              </a:rPr>
              <a:t>us-east-1</a:t>
            </a: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E0AFC0F1-A4F8-2E65-4FBC-BBA37B7E542A}"/>
              </a:ext>
            </a:extLst>
          </p:cNvPr>
          <p:cNvGrpSpPr/>
          <p:nvPr/>
        </p:nvGrpSpPr>
        <p:grpSpPr>
          <a:xfrm>
            <a:off x="12977024" y="3006868"/>
            <a:ext cx="9199420" cy="5054676"/>
            <a:chOff x="5600838" y="2252942"/>
            <a:chExt cx="4640440" cy="2527338"/>
          </a:xfrm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2B8F5A9B-5E06-F58A-28F1-BAA091CA707C}"/>
                </a:ext>
              </a:extLst>
            </p:cNvPr>
            <p:cNvSpPr/>
            <p:nvPr/>
          </p:nvSpPr>
          <p:spPr>
            <a:xfrm>
              <a:off x="6913880" y="2252942"/>
              <a:ext cx="3327398" cy="2527338"/>
            </a:xfrm>
            <a:prstGeom prst="rect">
              <a:avLst/>
            </a:prstGeom>
            <a:solidFill>
              <a:schemeClr val="accent2">
                <a:alpha val="89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4000" b="1" dirty="0">
                  <a:latin typeface="Open Sans Light"/>
                </a:rPr>
                <a:t>HYBRID</a:t>
              </a:r>
            </a:p>
            <a:p>
              <a:pPr algn="ctr"/>
              <a:r>
                <a:rPr lang="en-US" sz="4000" b="1" dirty="0">
                  <a:latin typeface="Open Sans Light"/>
                </a:rPr>
                <a:t>EC + EC</a:t>
              </a: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86B25209-6392-5893-C06A-07FF33C36C1A}"/>
                </a:ext>
              </a:extLst>
            </p:cNvPr>
            <p:cNvSpPr/>
            <p:nvPr/>
          </p:nvSpPr>
          <p:spPr>
            <a:xfrm>
              <a:off x="5600838" y="2255808"/>
              <a:ext cx="1313041" cy="2519124"/>
            </a:xfrm>
            <a:prstGeom prst="rect">
              <a:avLst/>
            </a:prstGeom>
            <a:solidFill>
              <a:schemeClr val="bg2">
                <a:lumMod val="50000"/>
                <a:alpha val="89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b="1" dirty="0">
                  <a:latin typeface="Open Sans Light"/>
                </a:rPr>
                <a:t>“STANDARD”</a:t>
              </a:r>
            </a:p>
            <a:p>
              <a:pPr algn="ctr"/>
              <a:r>
                <a:rPr lang="en-US" sz="2400" b="1" dirty="0">
                  <a:latin typeface="Open Sans Light"/>
                </a:rPr>
                <a:t>Storage-Class</a:t>
              </a: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EF04D055-44F1-7E0F-0FE8-42FCDB07E8EC}"/>
              </a:ext>
            </a:extLst>
          </p:cNvPr>
          <p:cNvGrpSpPr/>
          <p:nvPr/>
        </p:nvGrpSpPr>
        <p:grpSpPr>
          <a:xfrm>
            <a:off x="12977024" y="8218205"/>
            <a:ext cx="9199420" cy="2020158"/>
            <a:chOff x="5641568" y="4858610"/>
            <a:chExt cx="4599710" cy="1010079"/>
          </a:xfrm>
        </p:grpSpPr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CEE88A45-1179-6136-9986-658C6B23DC4B}"/>
                </a:ext>
              </a:extLst>
            </p:cNvPr>
            <p:cNvSpPr/>
            <p:nvPr/>
          </p:nvSpPr>
          <p:spPr>
            <a:xfrm>
              <a:off x="6913879" y="4858610"/>
              <a:ext cx="3327399" cy="1002956"/>
            </a:xfrm>
            <a:prstGeom prst="rect">
              <a:avLst/>
            </a:prstGeom>
            <a:solidFill>
              <a:schemeClr val="accent2">
                <a:alpha val="89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3600" b="1" dirty="0">
                  <a:latin typeface="Open Sans Light"/>
                </a:rPr>
                <a:t>ALL-FLASH</a:t>
              </a:r>
            </a:p>
            <a:p>
              <a:pPr algn="ctr"/>
              <a:r>
                <a:rPr lang="en-US" sz="3600" b="1" dirty="0">
                  <a:latin typeface="Open Sans Light"/>
                </a:rPr>
                <a:t>REPLICA </a:t>
              </a: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32A0BCF9-829A-4279-E0A9-73FFF9C9A458}"/>
                </a:ext>
              </a:extLst>
            </p:cNvPr>
            <p:cNvSpPr/>
            <p:nvPr/>
          </p:nvSpPr>
          <p:spPr>
            <a:xfrm>
              <a:off x="5641568" y="4865733"/>
              <a:ext cx="1272312" cy="1002956"/>
            </a:xfrm>
            <a:prstGeom prst="rect">
              <a:avLst/>
            </a:prstGeom>
            <a:solidFill>
              <a:schemeClr val="bg2">
                <a:lumMod val="50000"/>
                <a:alpha val="89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200" b="1" dirty="0">
                  <a:latin typeface="Open Sans Light"/>
                </a:rPr>
                <a:t>“PERFORMANCE”</a:t>
              </a:r>
            </a:p>
            <a:p>
              <a:pPr algn="ctr"/>
              <a:r>
                <a:rPr lang="en-US" sz="2200" b="1" dirty="0">
                  <a:latin typeface="Open Sans Light"/>
                </a:rPr>
                <a:t>Storage-Clas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068031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500"/>
                            </p:stCondLst>
                            <p:childTnLst>
                              <p:par>
                                <p:cTn id="3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/>
      <p:bldP spid="36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DBF8AF0-E91A-DC19-D479-3554586788B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44881" y="2783843"/>
            <a:ext cx="22000970" cy="1118454"/>
          </a:xfrm>
        </p:spPr>
        <p:txBody>
          <a:bodyPr/>
          <a:lstStyle/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</a:rPr>
              <a:t>Automatically classifies objects by name, size, tenant and other user definable rules for optimal placement</a:t>
            </a: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507BEF48-A131-DBCD-F381-DAFEEB5D5D5C}"/>
              </a:ext>
            </a:extLst>
          </p:cNvPr>
          <p:cNvGrpSpPr/>
          <p:nvPr/>
        </p:nvGrpSpPr>
        <p:grpSpPr>
          <a:xfrm>
            <a:off x="11099767" y="4326916"/>
            <a:ext cx="2361110" cy="7583316"/>
            <a:chOff x="3891924" y="2148171"/>
            <a:chExt cx="1180555" cy="3791658"/>
          </a:xfrm>
        </p:grpSpPr>
        <p:pic>
          <p:nvPicPr>
            <p:cNvPr id="49" name="Picture 48">
              <a:extLst>
                <a:ext uri="{FF2B5EF4-FFF2-40B4-BE49-F238E27FC236}">
                  <a16:creationId xmlns:a16="http://schemas.microsoft.com/office/drawing/2014/main" id="{20D79B30-CD81-BD32-2190-ABE4332811F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891926" y="2148171"/>
              <a:ext cx="1180553" cy="1263192"/>
            </a:xfrm>
            <a:prstGeom prst="rect">
              <a:avLst/>
            </a:prstGeom>
          </p:spPr>
        </p:pic>
        <p:pic>
          <p:nvPicPr>
            <p:cNvPr id="50" name="Picture 49">
              <a:extLst>
                <a:ext uri="{FF2B5EF4-FFF2-40B4-BE49-F238E27FC236}">
                  <a16:creationId xmlns:a16="http://schemas.microsoft.com/office/drawing/2014/main" id="{2A08D780-FDD2-A1C4-1FF9-702FDB33D9B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891924" y="3413445"/>
              <a:ext cx="1180553" cy="1263192"/>
            </a:xfrm>
            <a:prstGeom prst="rect">
              <a:avLst/>
            </a:prstGeom>
          </p:spPr>
        </p:pic>
        <p:pic>
          <p:nvPicPr>
            <p:cNvPr id="51" name="Picture 50">
              <a:extLst>
                <a:ext uri="{FF2B5EF4-FFF2-40B4-BE49-F238E27FC236}">
                  <a16:creationId xmlns:a16="http://schemas.microsoft.com/office/drawing/2014/main" id="{1BE87C8B-E59A-169F-0560-503AFB45359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891926" y="4676637"/>
              <a:ext cx="1180553" cy="1263192"/>
            </a:xfrm>
            <a:prstGeom prst="rect">
              <a:avLst/>
            </a:prstGeom>
          </p:spPr>
        </p:pic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70E415FB-3DAA-C740-1FA2-45CD49D329F1}"/>
              </a:ext>
            </a:extLst>
          </p:cNvPr>
          <p:cNvGrpSpPr/>
          <p:nvPr/>
        </p:nvGrpSpPr>
        <p:grpSpPr>
          <a:xfrm>
            <a:off x="13511673" y="4312670"/>
            <a:ext cx="2361110" cy="7583316"/>
            <a:chOff x="3891924" y="2148171"/>
            <a:chExt cx="1180555" cy="3791658"/>
          </a:xfrm>
        </p:grpSpPr>
        <p:pic>
          <p:nvPicPr>
            <p:cNvPr id="53" name="Picture 52">
              <a:extLst>
                <a:ext uri="{FF2B5EF4-FFF2-40B4-BE49-F238E27FC236}">
                  <a16:creationId xmlns:a16="http://schemas.microsoft.com/office/drawing/2014/main" id="{0449C170-6031-90B3-26C2-DB669F77AFB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891926" y="2148171"/>
              <a:ext cx="1180553" cy="1263192"/>
            </a:xfrm>
            <a:prstGeom prst="rect">
              <a:avLst/>
            </a:prstGeom>
          </p:spPr>
        </p:pic>
        <p:pic>
          <p:nvPicPr>
            <p:cNvPr id="54" name="Picture 53">
              <a:extLst>
                <a:ext uri="{FF2B5EF4-FFF2-40B4-BE49-F238E27FC236}">
                  <a16:creationId xmlns:a16="http://schemas.microsoft.com/office/drawing/2014/main" id="{EE63A4DB-D6EB-4600-377D-B02B29A41C0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891924" y="3413445"/>
              <a:ext cx="1180553" cy="1263192"/>
            </a:xfrm>
            <a:prstGeom prst="rect">
              <a:avLst/>
            </a:prstGeom>
          </p:spPr>
        </p:pic>
        <p:pic>
          <p:nvPicPr>
            <p:cNvPr id="55" name="Picture 54">
              <a:extLst>
                <a:ext uri="{FF2B5EF4-FFF2-40B4-BE49-F238E27FC236}">
                  <a16:creationId xmlns:a16="http://schemas.microsoft.com/office/drawing/2014/main" id="{49A4D8B8-697C-E38E-6914-220D3405862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891926" y="4676637"/>
              <a:ext cx="1180553" cy="1263192"/>
            </a:xfrm>
            <a:prstGeom prst="rect">
              <a:avLst/>
            </a:prstGeom>
          </p:spPr>
        </p:pic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B10E3D52-5EF7-DCC5-9416-DC9B34E3CE88}"/>
              </a:ext>
            </a:extLst>
          </p:cNvPr>
          <p:cNvGrpSpPr/>
          <p:nvPr/>
        </p:nvGrpSpPr>
        <p:grpSpPr>
          <a:xfrm>
            <a:off x="15923575" y="4312670"/>
            <a:ext cx="2361110" cy="7583316"/>
            <a:chOff x="3891924" y="2148171"/>
            <a:chExt cx="1180555" cy="3791658"/>
          </a:xfrm>
        </p:grpSpPr>
        <p:pic>
          <p:nvPicPr>
            <p:cNvPr id="57" name="Picture 56">
              <a:extLst>
                <a:ext uri="{FF2B5EF4-FFF2-40B4-BE49-F238E27FC236}">
                  <a16:creationId xmlns:a16="http://schemas.microsoft.com/office/drawing/2014/main" id="{6F23E058-1DC3-3A15-3D27-656EF26AAF5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891926" y="2148171"/>
              <a:ext cx="1180553" cy="1263192"/>
            </a:xfrm>
            <a:prstGeom prst="rect">
              <a:avLst/>
            </a:prstGeom>
          </p:spPr>
        </p:pic>
        <p:pic>
          <p:nvPicPr>
            <p:cNvPr id="58" name="Picture 57">
              <a:extLst>
                <a:ext uri="{FF2B5EF4-FFF2-40B4-BE49-F238E27FC236}">
                  <a16:creationId xmlns:a16="http://schemas.microsoft.com/office/drawing/2014/main" id="{A880F1E1-E2FF-B7FA-AC0F-A997A18ED99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891924" y="3413445"/>
              <a:ext cx="1180553" cy="1263192"/>
            </a:xfrm>
            <a:prstGeom prst="rect">
              <a:avLst/>
            </a:prstGeom>
          </p:spPr>
        </p:pic>
        <p:pic>
          <p:nvPicPr>
            <p:cNvPr id="59" name="Picture 58">
              <a:extLst>
                <a:ext uri="{FF2B5EF4-FFF2-40B4-BE49-F238E27FC236}">
                  <a16:creationId xmlns:a16="http://schemas.microsoft.com/office/drawing/2014/main" id="{B5D19B77-27DE-7E74-B25C-F78C012E1EE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891926" y="4676637"/>
              <a:ext cx="1180553" cy="1263192"/>
            </a:xfrm>
            <a:prstGeom prst="rect">
              <a:avLst/>
            </a:prstGeom>
          </p:spPr>
        </p:pic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25293827-5C7C-291F-4E88-5F06241B56A1}"/>
              </a:ext>
            </a:extLst>
          </p:cNvPr>
          <p:cNvGrpSpPr/>
          <p:nvPr/>
        </p:nvGrpSpPr>
        <p:grpSpPr>
          <a:xfrm>
            <a:off x="18335473" y="4312670"/>
            <a:ext cx="2361110" cy="7583316"/>
            <a:chOff x="3891924" y="2148171"/>
            <a:chExt cx="1180555" cy="3791658"/>
          </a:xfrm>
        </p:grpSpPr>
        <p:pic>
          <p:nvPicPr>
            <p:cNvPr id="61" name="Picture 60">
              <a:extLst>
                <a:ext uri="{FF2B5EF4-FFF2-40B4-BE49-F238E27FC236}">
                  <a16:creationId xmlns:a16="http://schemas.microsoft.com/office/drawing/2014/main" id="{90CE8FB4-5ECC-B5BD-298F-74A71ADB870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891926" y="2148171"/>
              <a:ext cx="1180553" cy="1263192"/>
            </a:xfrm>
            <a:prstGeom prst="rect">
              <a:avLst/>
            </a:prstGeom>
          </p:spPr>
        </p:pic>
        <p:pic>
          <p:nvPicPr>
            <p:cNvPr id="62" name="Picture 61">
              <a:extLst>
                <a:ext uri="{FF2B5EF4-FFF2-40B4-BE49-F238E27FC236}">
                  <a16:creationId xmlns:a16="http://schemas.microsoft.com/office/drawing/2014/main" id="{636AAFB8-8601-0DA1-C6B0-02C5664CF03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891924" y="3413445"/>
              <a:ext cx="1180553" cy="1263192"/>
            </a:xfrm>
            <a:prstGeom prst="rect">
              <a:avLst/>
            </a:prstGeom>
          </p:spPr>
        </p:pic>
        <p:pic>
          <p:nvPicPr>
            <p:cNvPr id="63" name="Picture 62">
              <a:extLst>
                <a:ext uri="{FF2B5EF4-FFF2-40B4-BE49-F238E27FC236}">
                  <a16:creationId xmlns:a16="http://schemas.microsoft.com/office/drawing/2014/main" id="{78920CFD-AA2B-4F56-15AF-36FB90B7F18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891926" y="4676637"/>
              <a:ext cx="1180553" cy="1263192"/>
            </a:xfrm>
            <a:prstGeom prst="rect">
              <a:avLst/>
            </a:prstGeom>
          </p:spPr>
        </p:pic>
      </p:grpSp>
      <p:sp>
        <p:nvSpPr>
          <p:cNvPr id="66" name="TextBox 65">
            <a:extLst>
              <a:ext uri="{FF2B5EF4-FFF2-40B4-BE49-F238E27FC236}">
                <a16:creationId xmlns:a16="http://schemas.microsoft.com/office/drawing/2014/main" id="{B6C7E56C-3DED-FEB8-AE6B-D08DABF2E74A}"/>
              </a:ext>
            </a:extLst>
          </p:cNvPr>
          <p:cNvSpPr txBox="1"/>
          <p:nvPr/>
        </p:nvSpPr>
        <p:spPr>
          <a:xfrm>
            <a:off x="11099770" y="12090495"/>
            <a:ext cx="9596808" cy="830997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</a:rPr>
              <a:t>Scale-out Object Storage</a:t>
            </a:r>
          </a:p>
          <a:p>
            <a:pPr algn="ctr"/>
            <a:r>
              <a:rPr lang="en-US" sz="2400" dirty="0">
                <a:solidFill>
                  <a:schemeClr val="bg1"/>
                </a:solidFill>
              </a:rPr>
              <a:t>w/ Intelligent Auto-tiering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B86B47E-E96C-9565-A6B4-804BBD81DCFC}"/>
              </a:ext>
            </a:extLst>
          </p:cNvPr>
          <p:cNvSpPr/>
          <p:nvPr/>
        </p:nvSpPr>
        <p:spPr>
          <a:xfrm>
            <a:off x="11252487" y="4531359"/>
            <a:ext cx="9230074" cy="7211518"/>
          </a:xfrm>
          <a:prstGeom prst="rect">
            <a:avLst/>
          </a:prstGeom>
          <a:solidFill>
            <a:schemeClr val="accent2">
              <a:alpha val="5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800" b="1" dirty="0">
                <a:latin typeface="Open Sans Light"/>
              </a:rPr>
              <a:t>OBJECT STORAGE ZONE</a:t>
            </a:r>
          </a:p>
          <a:p>
            <a:pPr algn="ctr"/>
            <a:r>
              <a:rPr lang="en-US" sz="4800" b="1" dirty="0">
                <a:latin typeface="Open Sans Light"/>
              </a:rPr>
              <a:t>us-east-1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532E44B5-6B11-0652-1729-35E966499D19}"/>
              </a:ext>
            </a:extLst>
          </p:cNvPr>
          <p:cNvGrpSpPr/>
          <p:nvPr/>
        </p:nvGrpSpPr>
        <p:grpSpPr>
          <a:xfrm>
            <a:off x="11283136" y="4505884"/>
            <a:ext cx="9199420" cy="5054676"/>
            <a:chOff x="5600838" y="2252942"/>
            <a:chExt cx="4640440" cy="2527338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4831D51B-ADC8-19E3-CA3B-279890A708D8}"/>
                </a:ext>
              </a:extLst>
            </p:cNvPr>
            <p:cNvSpPr/>
            <p:nvPr/>
          </p:nvSpPr>
          <p:spPr>
            <a:xfrm>
              <a:off x="6913880" y="2252942"/>
              <a:ext cx="3327398" cy="2527338"/>
            </a:xfrm>
            <a:prstGeom prst="rect">
              <a:avLst/>
            </a:prstGeom>
            <a:solidFill>
              <a:schemeClr val="accent2">
                <a:alpha val="89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4000" b="1" dirty="0">
                  <a:latin typeface="Open Sans Light"/>
                </a:rPr>
                <a:t>HYBRID</a:t>
              </a:r>
            </a:p>
            <a:p>
              <a:pPr algn="ctr"/>
              <a:r>
                <a:rPr lang="en-US" sz="4000" b="1" dirty="0">
                  <a:latin typeface="Open Sans Light"/>
                </a:rPr>
                <a:t>EC + EC</a:t>
              </a: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3FDCDDC1-3587-2D48-4542-871727D93E35}"/>
                </a:ext>
              </a:extLst>
            </p:cNvPr>
            <p:cNvSpPr/>
            <p:nvPr/>
          </p:nvSpPr>
          <p:spPr>
            <a:xfrm>
              <a:off x="5600838" y="2255808"/>
              <a:ext cx="1313041" cy="2519124"/>
            </a:xfrm>
            <a:prstGeom prst="rect">
              <a:avLst/>
            </a:prstGeom>
            <a:solidFill>
              <a:schemeClr val="bg2">
                <a:lumMod val="50000"/>
                <a:alpha val="89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b="1" dirty="0">
                  <a:latin typeface="Open Sans Light"/>
                </a:rPr>
                <a:t>“STANDARD”</a:t>
              </a:r>
            </a:p>
            <a:p>
              <a:pPr algn="ctr"/>
              <a:r>
                <a:rPr lang="en-US" sz="2400" b="1" dirty="0">
                  <a:latin typeface="Open Sans Light"/>
                </a:rPr>
                <a:t>Storage-Class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77057560-8A34-1A9B-659E-BB6F154A9169}"/>
              </a:ext>
            </a:extLst>
          </p:cNvPr>
          <p:cNvGrpSpPr/>
          <p:nvPr/>
        </p:nvGrpSpPr>
        <p:grpSpPr>
          <a:xfrm>
            <a:off x="11283136" y="9717221"/>
            <a:ext cx="9199420" cy="2020158"/>
            <a:chOff x="5641568" y="4858610"/>
            <a:chExt cx="4599710" cy="1010079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60432F8-8BBD-1832-F83B-279446BC23B2}"/>
                </a:ext>
              </a:extLst>
            </p:cNvPr>
            <p:cNvSpPr/>
            <p:nvPr/>
          </p:nvSpPr>
          <p:spPr>
            <a:xfrm>
              <a:off x="6913879" y="4858610"/>
              <a:ext cx="3327399" cy="1002956"/>
            </a:xfrm>
            <a:prstGeom prst="rect">
              <a:avLst/>
            </a:prstGeom>
            <a:solidFill>
              <a:schemeClr val="accent2">
                <a:alpha val="89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3600" b="1" dirty="0">
                  <a:latin typeface="Open Sans Light"/>
                </a:rPr>
                <a:t>ALL-FLASH</a:t>
              </a:r>
            </a:p>
            <a:p>
              <a:pPr algn="ctr"/>
              <a:r>
                <a:rPr lang="en-US" sz="3600" b="1" dirty="0">
                  <a:latin typeface="Open Sans Light"/>
                </a:rPr>
                <a:t>REPLICA 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0E9E579A-FEE6-F781-4A5A-7672BFE77D3E}"/>
                </a:ext>
              </a:extLst>
            </p:cNvPr>
            <p:cNvSpPr/>
            <p:nvPr/>
          </p:nvSpPr>
          <p:spPr>
            <a:xfrm>
              <a:off x="5641568" y="4865733"/>
              <a:ext cx="1272312" cy="1002956"/>
            </a:xfrm>
            <a:prstGeom prst="rect">
              <a:avLst/>
            </a:prstGeom>
            <a:solidFill>
              <a:schemeClr val="bg2">
                <a:lumMod val="50000"/>
                <a:alpha val="89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200" b="1" dirty="0">
                  <a:latin typeface="Open Sans Light"/>
                </a:rPr>
                <a:t>“PERFORMANCE”</a:t>
              </a:r>
            </a:p>
            <a:p>
              <a:pPr algn="ctr"/>
              <a:r>
                <a:rPr lang="en-US" sz="2200" b="1" dirty="0">
                  <a:latin typeface="Open Sans Light"/>
                </a:rPr>
                <a:t>Storage-Class</a:t>
              </a: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4FCF7108-2332-3A50-97D9-9566A583F5C2}"/>
              </a:ext>
            </a:extLst>
          </p:cNvPr>
          <p:cNvGrpSpPr/>
          <p:nvPr/>
        </p:nvGrpSpPr>
        <p:grpSpPr>
          <a:xfrm>
            <a:off x="3373617" y="7201450"/>
            <a:ext cx="3083994" cy="2419544"/>
            <a:chOff x="810242" y="2483388"/>
            <a:chExt cx="1180551" cy="926200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88760A88-7658-65D8-F9FD-7BD0268ACF8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10242" y="2483388"/>
              <a:ext cx="1180551" cy="106250"/>
            </a:xfrm>
            <a:prstGeom prst="rect">
              <a:avLst/>
            </a:prstGeom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848B601B-B9B0-2B82-D713-17F81BC361F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10242" y="2600524"/>
              <a:ext cx="1180551" cy="106250"/>
            </a:xfrm>
            <a:prstGeom prst="rect">
              <a:avLst/>
            </a:prstGeom>
          </p:spPr>
        </p:pic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0859635A-172D-FB0B-D181-C88ABEE2477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10242" y="2717660"/>
              <a:ext cx="1180551" cy="106250"/>
            </a:xfrm>
            <a:prstGeom prst="rect">
              <a:avLst/>
            </a:prstGeom>
          </p:spPr>
        </p:pic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C511AC1D-3BA5-BA73-837C-D3A0430F76B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10242" y="2834796"/>
              <a:ext cx="1180551" cy="106250"/>
            </a:xfrm>
            <a:prstGeom prst="rect">
              <a:avLst/>
            </a:prstGeom>
          </p:spPr>
        </p:pic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BC6EF77D-4DFB-2BF0-408C-99FC800D517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10242" y="2951932"/>
              <a:ext cx="1180551" cy="106250"/>
            </a:xfrm>
            <a:prstGeom prst="rect">
              <a:avLst/>
            </a:prstGeom>
          </p:spPr>
        </p:pic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58E60A52-73DA-AADA-EC80-69B7ECA6FB8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10242" y="3069068"/>
              <a:ext cx="1180551" cy="106250"/>
            </a:xfrm>
            <a:prstGeom prst="rect">
              <a:avLst/>
            </a:prstGeom>
          </p:spPr>
        </p:pic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5B264066-8DA9-543C-9150-D1AB6B64F82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10242" y="3186204"/>
              <a:ext cx="1180551" cy="106250"/>
            </a:xfrm>
            <a:prstGeom prst="rect">
              <a:avLst/>
            </a:prstGeom>
          </p:spPr>
        </p:pic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00E0FFB3-4841-4CBB-74A7-82A5D8A9A4F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10242" y="3303338"/>
              <a:ext cx="1180551" cy="106250"/>
            </a:xfrm>
            <a:prstGeom prst="rect">
              <a:avLst/>
            </a:prstGeom>
          </p:spPr>
        </p:pic>
      </p:grpSp>
      <p:sp>
        <p:nvSpPr>
          <p:cNvPr id="31" name="Cube 30">
            <a:extLst>
              <a:ext uri="{FF2B5EF4-FFF2-40B4-BE49-F238E27FC236}">
                <a16:creationId xmlns:a16="http://schemas.microsoft.com/office/drawing/2014/main" id="{013765C6-B140-11A8-27F8-723D312902A8}"/>
              </a:ext>
            </a:extLst>
          </p:cNvPr>
          <p:cNvSpPr/>
          <p:nvPr/>
        </p:nvSpPr>
        <p:spPr>
          <a:xfrm>
            <a:off x="4950836" y="6624549"/>
            <a:ext cx="609600" cy="661454"/>
          </a:xfrm>
          <a:prstGeom prst="cube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 dirty="0">
              <a:latin typeface="Open Sans Light"/>
            </a:endParaRPr>
          </a:p>
        </p:txBody>
      </p:sp>
      <p:sp>
        <p:nvSpPr>
          <p:cNvPr id="41" name="Cube 40">
            <a:extLst>
              <a:ext uri="{FF2B5EF4-FFF2-40B4-BE49-F238E27FC236}">
                <a16:creationId xmlns:a16="http://schemas.microsoft.com/office/drawing/2014/main" id="{0A033711-3AAF-F7E1-6481-147A84DE5BE9}"/>
              </a:ext>
            </a:extLst>
          </p:cNvPr>
          <p:cNvSpPr/>
          <p:nvPr/>
        </p:nvSpPr>
        <p:spPr>
          <a:xfrm>
            <a:off x="6833628" y="8369405"/>
            <a:ext cx="609600" cy="661454"/>
          </a:xfrm>
          <a:prstGeom prst="cube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 dirty="0">
              <a:latin typeface="Open Sans Light"/>
            </a:endParaRPr>
          </a:p>
        </p:txBody>
      </p:sp>
      <p:sp>
        <p:nvSpPr>
          <p:cNvPr id="43" name="Cube 42">
            <a:extLst>
              <a:ext uri="{FF2B5EF4-FFF2-40B4-BE49-F238E27FC236}">
                <a16:creationId xmlns:a16="http://schemas.microsoft.com/office/drawing/2014/main" id="{B3D28E27-0999-0136-6104-5CBF95ECAAB9}"/>
              </a:ext>
            </a:extLst>
          </p:cNvPr>
          <p:cNvSpPr/>
          <p:nvPr/>
        </p:nvSpPr>
        <p:spPr>
          <a:xfrm>
            <a:off x="5505842" y="8044198"/>
            <a:ext cx="1158436" cy="1136492"/>
          </a:xfrm>
          <a:prstGeom prst="cube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 dirty="0">
              <a:latin typeface="Open Sans Light"/>
            </a:endParaRPr>
          </a:p>
        </p:txBody>
      </p:sp>
      <p:sp>
        <p:nvSpPr>
          <p:cNvPr id="69" name="Cube 68">
            <a:extLst>
              <a:ext uri="{FF2B5EF4-FFF2-40B4-BE49-F238E27FC236}">
                <a16:creationId xmlns:a16="http://schemas.microsoft.com/office/drawing/2014/main" id="{26E89FD1-B321-62C7-F4C9-8FD96ABC7C9C}"/>
              </a:ext>
            </a:extLst>
          </p:cNvPr>
          <p:cNvSpPr/>
          <p:nvPr/>
        </p:nvSpPr>
        <p:spPr>
          <a:xfrm>
            <a:off x="5776792" y="6083606"/>
            <a:ext cx="1361636" cy="1419168"/>
          </a:xfrm>
          <a:prstGeom prst="cube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 dirty="0">
              <a:latin typeface="Open Sans Light"/>
            </a:endParaRPr>
          </a:p>
        </p:txBody>
      </p:sp>
      <p:sp>
        <p:nvSpPr>
          <p:cNvPr id="70" name="Cube 69">
            <a:extLst>
              <a:ext uri="{FF2B5EF4-FFF2-40B4-BE49-F238E27FC236}">
                <a16:creationId xmlns:a16="http://schemas.microsoft.com/office/drawing/2014/main" id="{CB6C1EDE-30D4-DAD2-BB27-8ACF3EE975BB}"/>
              </a:ext>
            </a:extLst>
          </p:cNvPr>
          <p:cNvSpPr/>
          <p:nvPr/>
        </p:nvSpPr>
        <p:spPr>
          <a:xfrm>
            <a:off x="5871457" y="9613818"/>
            <a:ext cx="356634" cy="381176"/>
          </a:xfrm>
          <a:prstGeom prst="cube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 dirty="0">
              <a:latin typeface="Open Sans Light"/>
            </a:endParaRPr>
          </a:p>
        </p:txBody>
      </p:sp>
      <p:sp>
        <p:nvSpPr>
          <p:cNvPr id="71" name="Cube 70">
            <a:extLst>
              <a:ext uri="{FF2B5EF4-FFF2-40B4-BE49-F238E27FC236}">
                <a16:creationId xmlns:a16="http://schemas.microsoft.com/office/drawing/2014/main" id="{88EA324E-83FA-3258-E247-0A9CC94DD490}"/>
              </a:ext>
            </a:extLst>
          </p:cNvPr>
          <p:cNvSpPr/>
          <p:nvPr/>
        </p:nvSpPr>
        <p:spPr>
          <a:xfrm>
            <a:off x="4979859" y="8518198"/>
            <a:ext cx="356634" cy="381176"/>
          </a:xfrm>
          <a:prstGeom prst="cube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 dirty="0">
              <a:latin typeface="Open Sans Light"/>
            </a:endParaRPr>
          </a:p>
        </p:txBody>
      </p:sp>
      <p:sp>
        <p:nvSpPr>
          <p:cNvPr id="72" name="Cube 71">
            <a:extLst>
              <a:ext uri="{FF2B5EF4-FFF2-40B4-BE49-F238E27FC236}">
                <a16:creationId xmlns:a16="http://schemas.microsoft.com/office/drawing/2014/main" id="{2A6088D6-4690-9B62-C2B1-7594095E1498}"/>
              </a:ext>
            </a:extLst>
          </p:cNvPr>
          <p:cNvSpPr/>
          <p:nvPr/>
        </p:nvSpPr>
        <p:spPr>
          <a:xfrm>
            <a:off x="5394267" y="9606112"/>
            <a:ext cx="356634" cy="381176"/>
          </a:xfrm>
          <a:prstGeom prst="cube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 dirty="0">
              <a:latin typeface="Open Sans Light"/>
            </a:endParaRPr>
          </a:p>
        </p:txBody>
      </p:sp>
      <p:sp>
        <p:nvSpPr>
          <p:cNvPr id="73" name="Cube 72">
            <a:extLst>
              <a:ext uri="{FF2B5EF4-FFF2-40B4-BE49-F238E27FC236}">
                <a16:creationId xmlns:a16="http://schemas.microsoft.com/office/drawing/2014/main" id="{58AF0687-AA40-55DB-EDC4-AA2C2C5D2C8E}"/>
              </a:ext>
            </a:extLst>
          </p:cNvPr>
          <p:cNvSpPr/>
          <p:nvPr/>
        </p:nvSpPr>
        <p:spPr>
          <a:xfrm>
            <a:off x="6348647" y="9588246"/>
            <a:ext cx="356634" cy="381176"/>
          </a:xfrm>
          <a:prstGeom prst="cube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 dirty="0">
              <a:latin typeface="Open Sans Light"/>
            </a:endParaRPr>
          </a:p>
        </p:txBody>
      </p:sp>
      <p:sp>
        <p:nvSpPr>
          <p:cNvPr id="74" name="Cube 73">
            <a:extLst>
              <a:ext uri="{FF2B5EF4-FFF2-40B4-BE49-F238E27FC236}">
                <a16:creationId xmlns:a16="http://schemas.microsoft.com/office/drawing/2014/main" id="{404C219C-8079-EA2F-DE7B-BD15BFF849B5}"/>
              </a:ext>
            </a:extLst>
          </p:cNvPr>
          <p:cNvSpPr/>
          <p:nvPr/>
        </p:nvSpPr>
        <p:spPr>
          <a:xfrm>
            <a:off x="4950837" y="9613818"/>
            <a:ext cx="356634" cy="381176"/>
          </a:xfrm>
          <a:prstGeom prst="cube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 dirty="0">
              <a:latin typeface="Open Sans Light"/>
            </a:endParaRPr>
          </a:p>
        </p:txBody>
      </p:sp>
      <p:sp>
        <p:nvSpPr>
          <p:cNvPr id="75" name="Cube 74">
            <a:extLst>
              <a:ext uri="{FF2B5EF4-FFF2-40B4-BE49-F238E27FC236}">
                <a16:creationId xmlns:a16="http://schemas.microsoft.com/office/drawing/2014/main" id="{5971A671-E97D-1583-549C-0F508DC05286}"/>
              </a:ext>
            </a:extLst>
          </p:cNvPr>
          <p:cNvSpPr/>
          <p:nvPr/>
        </p:nvSpPr>
        <p:spPr>
          <a:xfrm>
            <a:off x="7355078" y="5980888"/>
            <a:ext cx="1361636" cy="1419168"/>
          </a:xfrm>
          <a:prstGeom prst="cube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 dirty="0">
              <a:latin typeface="Open Sans Light"/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F78D275E-9A29-B863-A780-4D50F89DAFC5}"/>
              </a:ext>
            </a:extLst>
          </p:cNvPr>
          <p:cNvSpPr txBox="1"/>
          <p:nvPr/>
        </p:nvSpPr>
        <p:spPr>
          <a:xfrm>
            <a:off x="3442201" y="10085197"/>
            <a:ext cx="3015410" cy="461665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</a:rPr>
              <a:t>Clients</a:t>
            </a:r>
          </a:p>
        </p:txBody>
      </p:sp>
      <p:sp>
        <p:nvSpPr>
          <p:cNvPr id="11" name="Title 5">
            <a:extLst>
              <a:ext uri="{FF2B5EF4-FFF2-40B4-BE49-F238E27FC236}">
                <a16:creationId xmlns:a16="http://schemas.microsoft.com/office/drawing/2014/main" id="{3C008165-CCE5-5EE0-B150-26E7E3FF5B63}"/>
              </a:ext>
            </a:extLst>
          </p:cNvPr>
          <p:cNvSpPr txBox="1">
            <a:spLocks/>
          </p:cNvSpPr>
          <p:nvPr/>
        </p:nvSpPr>
        <p:spPr>
          <a:xfrm>
            <a:off x="1143000" y="1207009"/>
            <a:ext cx="22094952" cy="1386098"/>
          </a:xfrm>
          <a:prstGeom prst="rect">
            <a:avLst/>
          </a:prstGeom>
          <a:noFill/>
        </p:spPr>
        <p:txBody>
          <a:bodyPr lIns="0" tIns="0" rIns="0" bIns="0" anchor="b" anchorCtr="0">
            <a:noAutofit/>
          </a:bodyPr>
          <a:lstStyle>
            <a:lvl1pPr algn="l" defTabSz="54350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bg2"/>
                </a:solidFill>
                <a:latin typeface="+mj-lt"/>
                <a:ea typeface="+mj-ea"/>
                <a:cs typeface="Open Sans"/>
              </a:defRPr>
            </a:lvl1pPr>
          </a:lstStyle>
          <a:p>
            <a:pPr defTabSz="1087010">
              <a:defRPr/>
            </a:pPr>
            <a:r>
              <a:rPr lang="en-US" sz="7200" dirty="0">
                <a:solidFill>
                  <a:srgbClr val="6EBE49"/>
                </a:solidFill>
                <a:latin typeface="Arial" panose="020B0604020202020204"/>
              </a:rPr>
              <a:t>Intelligent Data-placement / Auto-tiering</a:t>
            </a:r>
          </a:p>
        </p:txBody>
      </p:sp>
    </p:spTree>
    <p:extLst>
      <p:ext uri="{BB962C8B-B14F-4D97-AF65-F5344CB8AC3E}">
        <p14:creationId xmlns:p14="http://schemas.microsoft.com/office/powerpoint/2010/main" val="1468759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500"/>
                            </p:stCondLst>
                            <p:childTnLst>
                              <p:par>
                                <p:cTn id="3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2" fill="hold">
                      <p:stCondLst>
                        <p:cond delay="indefinite"/>
                      </p:stCondLst>
                      <p:childTnLst>
                        <p:par>
                          <p:cTn id="73" fill="hold">
                            <p:stCondLst>
                              <p:cond delay="0"/>
                            </p:stCondLst>
                            <p:childTnLst>
                              <p:par>
                                <p:cTn id="74" presetID="42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9167E-6 -4.44444E-6 L 0.39284 0.28704 " pathEditMode="relative" rAng="0" ptsTypes="AA">
                                      <p:cBhvr>
                                        <p:cTn id="75" dur="2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635" y="14352"/>
                                    </p:animMotion>
                                  </p:childTnLst>
                                </p:cTn>
                              </p:par>
                              <p:par>
                                <p:cTn id="7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66667E-6 7.40741E-7 L 0.2914 0.15694 " pathEditMode="relative" rAng="0" ptsTypes="AA">
                                      <p:cBhvr>
                                        <p:cTn id="77" dur="2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4570" y="7847"/>
                                    </p:animMotion>
                                  </p:childTnLst>
                                </p:cTn>
                              </p:par>
                              <p:par>
                                <p:cTn id="7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8.33333E-7 7.40741E-7 L 0.35885 -0.01921 " pathEditMode="relative" rAng="0" ptsTypes="AA">
                                      <p:cBhvr>
                                        <p:cTn id="79" dur="2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7943" y="-972"/>
                                    </p:animMotion>
                                  </p:childTnLst>
                                </p:cTn>
                              </p:par>
                              <p:par>
                                <p:cTn id="8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54167E-6 1.11111E-6 L 0.34362 0.01551 " pathEditMode="relative" rAng="0" ptsTypes="AA">
                                      <p:cBhvr>
                                        <p:cTn id="81" dur="20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7174" y="764"/>
                                    </p:animMotion>
                                  </p:childTnLst>
                                </p:cTn>
                              </p:par>
                              <p:par>
                                <p:cTn id="8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125E-6 -4.81481E-6 L 0.36028 0.02176 " pathEditMode="relative" rAng="0" ptsTypes="AA">
                                      <p:cBhvr>
                                        <p:cTn id="83" dur="2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008" y="1088"/>
                                    </p:animMotion>
                                  </p:childTnLst>
                                </p:cTn>
                              </p:par>
                              <p:par>
                                <p:cTn id="84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66667E-6 -3.7037E-6 L 0.41224 0.10162 " pathEditMode="relative" rAng="0" ptsTypes="AA">
                                      <p:cBhvr>
                                        <p:cTn id="85" dur="20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0612" y="5069"/>
                                    </p:animMotion>
                                  </p:childTnLst>
                                </p:cTn>
                              </p:par>
                              <p:par>
                                <p:cTn id="86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375E-6 -1.85185E-6 L 0.40312 0.08102 " pathEditMode="relative" rAng="0" ptsTypes="AA">
                                      <p:cBhvr>
                                        <p:cTn id="87" dur="2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0156" y="4051"/>
                                    </p:animMotion>
                                  </p:childTnLst>
                                </p:cTn>
                              </p:par>
                              <p:par>
                                <p:cTn id="88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66667E-6 -2.96296E-6 L 0.31849 0.02523 " pathEditMode="relative" rAng="0" ptsTypes="AA">
                                      <p:cBhvr>
                                        <p:cTn id="89" dur="2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5924" y="1250"/>
                                    </p:animMotion>
                                  </p:childTnLst>
                                </p:cTn>
                              </p:par>
                              <p:par>
                                <p:cTn id="90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54167E-6 -4.81481E-6 L 0.43398 0.02038 " pathEditMode="relative" rAng="0" ptsTypes="AA">
                                      <p:cBhvr>
                                        <p:cTn id="91" dur="2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1693" y="1019"/>
                                    </p:animMotion>
                                  </p:childTnLst>
                                </p:cTn>
                              </p:par>
                              <p:par>
                                <p:cTn id="92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0833E-6 -1.48148E-6 L 0.27877 -0.08403 " pathEditMode="relative" rAng="0" ptsTypes="AA">
                                      <p:cBhvr>
                                        <p:cTn id="93" dur="2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3932" y="-421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6" grpId="0"/>
      <p:bldP spid="2" grpId="0" animBg="1"/>
      <p:bldP spid="31" grpId="0" animBg="1"/>
      <p:bldP spid="31" grpId="1" animBg="1"/>
      <p:bldP spid="41" grpId="0" animBg="1"/>
      <p:bldP spid="41" grpId="1" animBg="1"/>
      <p:bldP spid="43" grpId="0" animBg="1"/>
      <p:bldP spid="43" grpId="1" animBg="1"/>
      <p:bldP spid="69" grpId="0" animBg="1"/>
      <p:bldP spid="69" grpId="1" animBg="1"/>
      <p:bldP spid="70" grpId="0" animBg="1"/>
      <p:bldP spid="70" grpId="1" animBg="1"/>
      <p:bldP spid="71" grpId="0" animBg="1"/>
      <p:bldP spid="71" grpId="1" animBg="1"/>
      <p:bldP spid="72" grpId="0" animBg="1"/>
      <p:bldP spid="72" grpId="1" animBg="1"/>
      <p:bldP spid="73" grpId="0" animBg="1"/>
      <p:bldP spid="73" grpId="1" animBg="1"/>
      <p:bldP spid="74" grpId="0" animBg="1"/>
      <p:bldP spid="74" grpId="1" animBg="1"/>
      <p:bldP spid="75" grpId="0" animBg="1"/>
      <p:bldP spid="75" grpId="1" animBg="1"/>
      <p:bldP spid="76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9E20AC7A-A25C-0480-4EC0-5075A08CE3D1}"/>
              </a:ext>
            </a:extLst>
          </p:cNvPr>
          <p:cNvGrpSpPr/>
          <p:nvPr/>
        </p:nvGrpSpPr>
        <p:grpSpPr>
          <a:xfrm>
            <a:off x="1624886" y="3387123"/>
            <a:ext cx="5118228" cy="3617350"/>
            <a:chOff x="812443" y="1693561"/>
            <a:chExt cx="2559114" cy="1808675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1B804471-8AEC-9345-AD54-795631F0A432}"/>
                </a:ext>
              </a:extLst>
            </p:cNvPr>
            <p:cNvGrpSpPr/>
            <p:nvPr/>
          </p:nvGrpSpPr>
          <p:grpSpPr>
            <a:xfrm>
              <a:off x="812443" y="1693561"/>
              <a:ext cx="2559114" cy="1808675"/>
              <a:chOff x="3574399" y="2120900"/>
              <a:chExt cx="3248428" cy="1808675"/>
            </a:xfrm>
          </p:grpSpPr>
          <p:sp>
            <p:nvSpPr>
              <p:cNvPr id="98" name="Rectangle 97">
                <a:extLst>
                  <a:ext uri="{FF2B5EF4-FFF2-40B4-BE49-F238E27FC236}">
                    <a16:creationId xmlns:a16="http://schemas.microsoft.com/office/drawing/2014/main" id="{585CA638-4E60-C2F6-37B7-6F10F94B35BC}"/>
                  </a:ext>
                </a:extLst>
              </p:cNvPr>
              <p:cNvSpPr/>
              <p:nvPr/>
            </p:nvSpPr>
            <p:spPr>
              <a:xfrm>
                <a:off x="3574399" y="2120900"/>
                <a:ext cx="3248428" cy="1808675"/>
              </a:xfrm>
              <a:prstGeom prst="rect">
                <a:avLst/>
              </a:prstGeom>
              <a:noFill/>
              <a:ln w="12700"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3600" dirty="0">
                  <a:latin typeface="Open Sans Light"/>
                </a:endParaRPr>
              </a:p>
            </p:txBody>
          </p:sp>
          <p:sp>
            <p:nvSpPr>
              <p:cNvPr id="103" name="TextBox 102">
                <a:extLst>
                  <a:ext uri="{FF2B5EF4-FFF2-40B4-BE49-F238E27FC236}">
                    <a16:creationId xmlns:a16="http://schemas.microsoft.com/office/drawing/2014/main" id="{24E1EA28-65B1-A443-1EBF-3DEDE6D21AD2}"/>
                  </a:ext>
                </a:extLst>
              </p:cNvPr>
              <p:cNvSpPr txBox="1"/>
              <p:nvPr/>
            </p:nvSpPr>
            <p:spPr>
              <a:xfrm>
                <a:off x="3574399" y="2165694"/>
                <a:ext cx="3248428" cy="230833"/>
              </a:xfrm>
              <a:prstGeom prst="rect">
                <a:avLst/>
              </a:prstGeom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2400" dirty="0">
                    <a:solidFill>
                      <a:schemeClr val="bg2"/>
                    </a:solidFill>
                  </a:rPr>
                  <a:t>Initial Deployment</a:t>
                </a:r>
              </a:p>
            </p:txBody>
          </p:sp>
        </p:grpSp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A39DC2C8-96D9-1963-3774-F27E1BD8289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74018" y="2127199"/>
              <a:ext cx="1180553" cy="1263192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A0AE3A5A-1A83-69D7-2414-36609BE58A3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116146" y="2127199"/>
              <a:ext cx="1180553" cy="1263192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65D0A885-E1A7-82F4-080B-09DDAF4EB033}"/>
              </a:ext>
            </a:extLst>
          </p:cNvPr>
          <p:cNvGrpSpPr/>
          <p:nvPr/>
        </p:nvGrpSpPr>
        <p:grpSpPr>
          <a:xfrm>
            <a:off x="6744908" y="3387123"/>
            <a:ext cx="5118228" cy="3617350"/>
            <a:chOff x="3372454" y="1693561"/>
            <a:chExt cx="2559114" cy="1808675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9E517AFB-C20C-EF89-16E1-8FD5B0C3CE8B}"/>
                </a:ext>
              </a:extLst>
            </p:cNvPr>
            <p:cNvGrpSpPr/>
            <p:nvPr/>
          </p:nvGrpSpPr>
          <p:grpSpPr>
            <a:xfrm>
              <a:off x="3372454" y="1693561"/>
              <a:ext cx="2559114" cy="1808675"/>
              <a:chOff x="3574399" y="2120900"/>
              <a:chExt cx="3248428" cy="1808675"/>
            </a:xfrm>
          </p:grpSpPr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A006E77C-1E45-9474-4252-0635805BA1B0}"/>
                  </a:ext>
                </a:extLst>
              </p:cNvPr>
              <p:cNvSpPr/>
              <p:nvPr/>
            </p:nvSpPr>
            <p:spPr>
              <a:xfrm>
                <a:off x="3574399" y="2120900"/>
                <a:ext cx="3248428" cy="1808675"/>
              </a:xfrm>
              <a:prstGeom prst="rect">
                <a:avLst/>
              </a:prstGeom>
              <a:noFill/>
              <a:ln w="12700"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3600" dirty="0">
                  <a:latin typeface="Open Sans Light"/>
                </a:endParaRPr>
              </a:p>
            </p:txBody>
          </p:sp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5B6040C7-BFD2-FB50-689E-0CA9A1F98F72}"/>
                  </a:ext>
                </a:extLst>
              </p:cNvPr>
              <p:cNvSpPr txBox="1"/>
              <p:nvPr/>
            </p:nvSpPr>
            <p:spPr>
              <a:xfrm>
                <a:off x="3574399" y="2165694"/>
                <a:ext cx="3248428" cy="230833"/>
              </a:xfrm>
              <a:prstGeom prst="rect">
                <a:avLst/>
              </a:prstGeom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2400" dirty="0">
                    <a:solidFill>
                      <a:schemeClr val="bg2"/>
                    </a:solidFill>
                  </a:rPr>
                  <a:t>Expansion</a:t>
                </a:r>
              </a:p>
            </p:txBody>
          </p:sp>
        </p:grp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61BD830B-965C-E578-E121-4D0EA928897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434029" y="2127199"/>
              <a:ext cx="1180553" cy="1263192"/>
            </a:xfrm>
            <a:prstGeom prst="rect">
              <a:avLst/>
            </a:prstGeom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72F2BE76-287D-BF0F-0F56-D14156B9FF2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676157" y="2127199"/>
              <a:ext cx="1180553" cy="1263192"/>
            </a:xfrm>
            <a:prstGeom prst="rect">
              <a:avLst/>
            </a:prstGeom>
          </p:spPr>
        </p:pic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235CCD61-9362-C68A-C89F-63BECB93F18F}"/>
              </a:ext>
            </a:extLst>
          </p:cNvPr>
          <p:cNvGrpSpPr/>
          <p:nvPr/>
        </p:nvGrpSpPr>
        <p:grpSpPr>
          <a:xfrm>
            <a:off x="11863137" y="3387123"/>
            <a:ext cx="10253326" cy="3617350"/>
            <a:chOff x="5931568" y="1693561"/>
            <a:chExt cx="5126663" cy="1808675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8EA7BE7F-9650-43AF-B027-2764B435FA0A}"/>
                </a:ext>
              </a:extLst>
            </p:cNvPr>
            <p:cNvGrpSpPr/>
            <p:nvPr/>
          </p:nvGrpSpPr>
          <p:grpSpPr>
            <a:xfrm>
              <a:off x="6054883" y="2127199"/>
              <a:ext cx="1180554" cy="1263192"/>
              <a:chOff x="5979859" y="2164711"/>
              <a:chExt cx="1180554" cy="1263192"/>
            </a:xfrm>
          </p:grpSpPr>
          <p:pic>
            <p:nvPicPr>
              <p:cNvPr id="14" name="Picture 13">
                <a:extLst>
                  <a:ext uri="{FF2B5EF4-FFF2-40B4-BE49-F238E27FC236}">
                    <a16:creationId xmlns:a16="http://schemas.microsoft.com/office/drawing/2014/main" id="{2475BCF8-F4E9-C34E-FCB9-35DCE59DE44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5979860" y="2164711"/>
                <a:ext cx="1180553" cy="1263192"/>
              </a:xfrm>
              <a:prstGeom prst="rect">
                <a:avLst/>
              </a:prstGeom>
            </p:spPr>
          </p:pic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F68C26F2-8919-61C5-1CDD-8254CE8CCD42}"/>
                  </a:ext>
                </a:extLst>
              </p:cNvPr>
              <p:cNvGrpSpPr/>
              <p:nvPr/>
            </p:nvGrpSpPr>
            <p:grpSpPr>
              <a:xfrm>
                <a:off x="5979859" y="2164711"/>
                <a:ext cx="1180552" cy="209598"/>
                <a:chOff x="5979859" y="2164711"/>
                <a:chExt cx="1180552" cy="209598"/>
              </a:xfrm>
            </p:grpSpPr>
            <p:pic>
              <p:nvPicPr>
                <p:cNvPr id="16" name="Picture 15">
                  <a:extLst>
                    <a:ext uri="{FF2B5EF4-FFF2-40B4-BE49-F238E27FC236}">
                      <a16:creationId xmlns:a16="http://schemas.microsoft.com/office/drawing/2014/main" id="{5B568847-F663-FF0B-B40F-90583B28B2D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5979859" y="2164711"/>
                  <a:ext cx="1180552" cy="106250"/>
                </a:xfrm>
                <a:prstGeom prst="rect">
                  <a:avLst/>
                </a:prstGeom>
              </p:spPr>
            </p:pic>
            <p:pic>
              <p:nvPicPr>
                <p:cNvPr id="17" name="Picture 16">
                  <a:extLst>
                    <a:ext uri="{FF2B5EF4-FFF2-40B4-BE49-F238E27FC236}">
                      <a16:creationId xmlns:a16="http://schemas.microsoft.com/office/drawing/2014/main" id="{A4243E3F-46DD-2BCF-0E83-A9DCF197DEA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5979859" y="2268059"/>
                  <a:ext cx="1180552" cy="106250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F15E4D95-961C-2151-EBAB-88C443D3DAF8}"/>
                </a:ext>
              </a:extLst>
            </p:cNvPr>
            <p:cNvGrpSpPr/>
            <p:nvPr/>
          </p:nvGrpSpPr>
          <p:grpSpPr>
            <a:xfrm>
              <a:off x="7303099" y="2127199"/>
              <a:ext cx="1180553" cy="1263192"/>
              <a:chOff x="7270276" y="2164711"/>
              <a:chExt cx="1180553" cy="1263192"/>
            </a:xfrm>
          </p:grpSpPr>
          <p:pic>
            <p:nvPicPr>
              <p:cNvPr id="49" name="Picture 48">
                <a:extLst>
                  <a:ext uri="{FF2B5EF4-FFF2-40B4-BE49-F238E27FC236}">
                    <a16:creationId xmlns:a16="http://schemas.microsoft.com/office/drawing/2014/main" id="{5346CC87-83F3-88B2-F22F-1438FD1286B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7270276" y="2164711"/>
                <a:ext cx="1180553" cy="1263192"/>
              </a:xfrm>
              <a:prstGeom prst="rect">
                <a:avLst/>
              </a:prstGeom>
            </p:spPr>
          </p:pic>
          <p:pic>
            <p:nvPicPr>
              <p:cNvPr id="54" name="Picture 53">
                <a:extLst>
                  <a:ext uri="{FF2B5EF4-FFF2-40B4-BE49-F238E27FC236}">
                    <a16:creationId xmlns:a16="http://schemas.microsoft.com/office/drawing/2014/main" id="{03FEB0FF-F6DB-783E-C758-B2F5B21E3C4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7270276" y="2274339"/>
                <a:ext cx="1180553" cy="110185"/>
              </a:xfrm>
              <a:prstGeom prst="rect">
                <a:avLst/>
              </a:prstGeom>
            </p:spPr>
          </p:pic>
          <p:pic>
            <p:nvPicPr>
              <p:cNvPr id="55" name="Picture 54">
                <a:extLst>
                  <a:ext uri="{FF2B5EF4-FFF2-40B4-BE49-F238E27FC236}">
                    <a16:creationId xmlns:a16="http://schemas.microsoft.com/office/drawing/2014/main" id="{EF08930D-0A16-4CAB-9384-E691389CEAF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7270276" y="2164711"/>
                <a:ext cx="1180553" cy="110185"/>
              </a:xfrm>
              <a:prstGeom prst="rect">
                <a:avLst/>
              </a:prstGeom>
            </p:spPr>
          </p:pic>
        </p:grp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8B37D4DE-60E5-56CE-E11A-48C7F785606B}"/>
                </a:ext>
              </a:extLst>
            </p:cNvPr>
            <p:cNvGrpSpPr/>
            <p:nvPr/>
          </p:nvGrpSpPr>
          <p:grpSpPr>
            <a:xfrm>
              <a:off x="5931568" y="1693561"/>
              <a:ext cx="5126663" cy="1808675"/>
              <a:chOff x="3574399" y="2120900"/>
              <a:chExt cx="3248428" cy="1808675"/>
            </a:xfrm>
          </p:grpSpPr>
          <p:sp>
            <p:nvSpPr>
              <p:cNvPr id="58" name="Rectangle 57">
                <a:extLst>
                  <a:ext uri="{FF2B5EF4-FFF2-40B4-BE49-F238E27FC236}">
                    <a16:creationId xmlns:a16="http://schemas.microsoft.com/office/drawing/2014/main" id="{EDD0E70B-E58E-871A-3FCC-A44E68D98B2A}"/>
                  </a:ext>
                </a:extLst>
              </p:cNvPr>
              <p:cNvSpPr/>
              <p:nvPr/>
            </p:nvSpPr>
            <p:spPr>
              <a:xfrm>
                <a:off x="3574399" y="2120900"/>
                <a:ext cx="3248428" cy="1808675"/>
              </a:xfrm>
              <a:prstGeom prst="rect">
                <a:avLst/>
              </a:prstGeom>
              <a:noFill/>
              <a:ln w="12700"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3600" dirty="0">
                  <a:latin typeface="Open Sans Light"/>
                </a:endParaRPr>
              </a:p>
            </p:txBody>
          </p:sp>
          <p:sp>
            <p:nvSpPr>
              <p:cNvPr id="59" name="TextBox 58">
                <a:extLst>
                  <a:ext uri="{FF2B5EF4-FFF2-40B4-BE49-F238E27FC236}">
                    <a16:creationId xmlns:a16="http://schemas.microsoft.com/office/drawing/2014/main" id="{02FA33AB-DAF4-7C76-B530-71DEE016F186}"/>
                  </a:ext>
                </a:extLst>
              </p:cNvPr>
              <p:cNvSpPr txBox="1"/>
              <p:nvPr/>
            </p:nvSpPr>
            <p:spPr>
              <a:xfrm>
                <a:off x="3574399" y="2165694"/>
                <a:ext cx="3248428" cy="230833"/>
              </a:xfrm>
              <a:prstGeom prst="rect">
                <a:avLst/>
              </a:prstGeom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2400" dirty="0">
                    <a:solidFill>
                      <a:schemeClr val="bg2"/>
                    </a:solidFill>
                  </a:rPr>
                  <a:t>Expansion</a:t>
                </a:r>
              </a:p>
            </p:txBody>
          </p:sp>
        </p:grpSp>
        <p:pic>
          <p:nvPicPr>
            <p:cNvPr id="60" name="Picture 59">
              <a:extLst>
                <a:ext uri="{FF2B5EF4-FFF2-40B4-BE49-F238E27FC236}">
                  <a16:creationId xmlns:a16="http://schemas.microsoft.com/office/drawing/2014/main" id="{873E39AD-E2B5-E070-4502-A46FC521195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546625" y="2127199"/>
              <a:ext cx="1180553" cy="1263192"/>
            </a:xfrm>
            <a:prstGeom prst="rect">
              <a:avLst/>
            </a:prstGeom>
          </p:spPr>
        </p:pic>
        <p:pic>
          <p:nvPicPr>
            <p:cNvPr id="61" name="Picture 60">
              <a:extLst>
                <a:ext uri="{FF2B5EF4-FFF2-40B4-BE49-F238E27FC236}">
                  <a16:creationId xmlns:a16="http://schemas.microsoft.com/office/drawing/2014/main" id="{24F6105A-D595-4390-A0AA-9E22B479D24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798131" y="2127199"/>
              <a:ext cx="1180553" cy="1263192"/>
            </a:xfrm>
            <a:prstGeom prst="rect">
              <a:avLst/>
            </a:prstGeom>
          </p:spPr>
        </p:pic>
      </p:grpSp>
      <p:sp>
        <p:nvSpPr>
          <p:cNvPr id="114" name="Double Wave 113">
            <a:extLst>
              <a:ext uri="{FF2B5EF4-FFF2-40B4-BE49-F238E27FC236}">
                <a16:creationId xmlns:a16="http://schemas.microsoft.com/office/drawing/2014/main" id="{12E990CA-5F9A-EEE4-215E-B67D57CC4324}"/>
              </a:ext>
            </a:extLst>
          </p:cNvPr>
          <p:cNvSpPr/>
          <p:nvPr/>
        </p:nvSpPr>
        <p:spPr>
          <a:xfrm>
            <a:off x="1792798" y="5751529"/>
            <a:ext cx="4734612" cy="976422"/>
          </a:xfrm>
          <a:prstGeom prst="doubleWave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 dirty="0">
              <a:latin typeface="Open Sans Light"/>
            </a:endParaRPr>
          </a:p>
        </p:txBody>
      </p:sp>
      <p:sp>
        <p:nvSpPr>
          <p:cNvPr id="116" name="Double Wave 115">
            <a:extLst>
              <a:ext uri="{FF2B5EF4-FFF2-40B4-BE49-F238E27FC236}">
                <a16:creationId xmlns:a16="http://schemas.microsoft.com/office/drawing/2014/main" id="{EE6435B8-7176-CE3C-C3D8-965C8C4D5BFB}"/>
              </a:ext>
            </a:extLst>
          </p:cNvPr>
          <p:cNvSpPr/>
          <p:nvPr/>
        </p:nvSpPr>
        <p:spPr>
          <a:xfrm>
            <a:off x="1807482" y="5316190"/>
            <a:ext cx="4734612" cy="1464592"/>
          </a:xfrm>
          <a:prstGeom prst="doubleWave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 dirty="0">
              <a:latin typeface="Open Sans Light"/>
            </a:endParaRPr>
          </a:p>
        </p:txBody>
      </p:sp>
      <p:sp>
        <p:nvSpPr>
          <p:cNvPr id="117" name="Double Wave 116">
            <a:extLst>
              <a:ext uri="{FF2B5EF4-FFF2-40B4-BE49-F238E27FC236}">
                <a16:creationId xmlns:a16="http://schemas.microsoft.com/office/drawing/2014/main" id="{6D64AD91-D955-23B3-F213-BBE09B3CA797}"/>
              </a:ext>
            </a:extLst>
          </p:cNvPr>
          <p:cNvSpPr/>
          <p:nvPr/>
        </p:nvSpPr>
        <p:spPr>
          <a:xfrm>
            <a:off x="1807484" y="5804361"/>
            <a:ext cx="9932504" cy="976422"/>
          </a:xfrm>
          <a:prstGeom prst="doubleWave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 dirty="0">
              <a:latin typeface="Open Sans Light"/>
            </a:endParaRPr>
          </a:p>
        </p:txBody>
      </p:sp>
      <p:sp>
        <p:nvSpPr>
          <p:cNvPr id="118" name="Double Wave 117">
            <a:extLst>
              <a:ext uri="{FF2B5EF4-FFF2-40B4-BE49-F238E27FC236}">
                <a16:creationId xmlns:a16="http://schemas.microsoft.com/office/drawing/2014/main" id="{10DE2002-D782-9486-620E-56A5716CD9AD}"/>
              </a:ext>
            </a:extLst>
          </p:cNvPr>
          <p:cNvSpPr/>
          <p:nvPr/>
        </p:nvSpPr>
        <p:spPr>
          <a:xfrm>
            <a:off x="1807486" y="5411117"/>
            <a:ext cx="9932504" cy="1418258"/>
          </a:xfrm>
          <a:prstGeom prst="doubleWave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 dirty="0">
              <a:latin typeface="Open Sans Light"/>
            </a:endParaRPr>
          </a:p>
        </p:txBody>
      </p:sp>
      <p:sp>
        <p:nvSpPr>
          <p:cNvPr id="119" name="Double Wave 118">
            <a:extLst>
              <a:ext uri="{FF2B5EF4-FFF2-40B4-BE49-F238E27FC236}">
                <a16:creationId xmlns:a16="http://schemas.microsoft.com/office/drawing/2014/main" id="{EA60E308-CC48-A41E-4AF3-5A8D2E61E095}"/>
              </a:ext>
            </a:extLst>
          </p:cNvPr>
          <p:cNvSpPr/>
          <p:nvPr/>
        </p:nvSpPr>
        <p:spPr>
          <a:xfrm>
            <a:off x="1792798" y="5828657"/>
            <a:ext cx="20173948" cy="976422"/>
          </a:xfrm>
          <a:prstGeom prst="doubleWave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 dirty="0">
              <a:latin typeface="Open Sans Light"/>
            </a:endParaRPr>
          </a:p>
        </p:txBody>
      </p:sp>
      <p:sp>
        <p:nvSpPr>
          <p:cNvPr id="120" name="Double Wave 119">
            <a:extLst>
              <a:ext uri="{FF2B5EF4-FFF2-40B4-BE49-F238E27FC236}">
                <a16:creationId xmlns:a16="http://schemas.microsoft.com/office/drawing/2014/main" id="{47C64A6C-332F-94C4-29D9-26A766602B56}"/>
              </a:ext>
            </a:extLst>
          </p:cNvPr>
          <p:cNvSpPr/>
          <p:nvPr/>
        </p:nvSpPr>
        <p:spPr>
          <a:xfrm>
            <a:off x="1807486" y="5316190"/>
            <a:ext cx="20159260" cy="1533128"/>
          </a:xfrm>
          <a:prstGeom prst="doubleWave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 dirty="0">
              <a:latin typeface="Open Sans Light"/>
            </a:endParaRPr>
          </a:p>
        </p:txBody>
      </p:sp>
      <p:sp>
        <p:nvSpPr>
          <p:cNvPr id="62" name="Text Placeholder 6">
            <a:extLst>
              <a:ext uri="{FF2B5EF4-FFF2-40B4-BE49-F238E27FC236}">
                <a16:creationId xmlns:a16="http://schemas.microsoft.com/office/drawing/2014/main" id="{6D7517F3-F34D-A161-36F6-059CB14183FA}"/>
              </a:ext>
            </a:extLst>
          </p:cNvPr>
          <p:cNvSpPr txBox="1">
            <a:spLocks/>
          </p:cNvSpPr>
          <p:nvPr/>
        </p:nvSpPr>
        <p:spPr>
          <a:xfrm>
            <a:off x="1516130" y="7265861"/>
            <a:ext cx="20600332" cy="4839390"/>
          </a:xfrm>
          <a:prstGeom prst="rect">
            <a:avLst/>
          </a:prstGeom>
        </p:spPr>
        <p:txBody>
          <a:bodyPr/>
          <a:lstStyle>
            <a:lvl1pPr marL="0" indent="0" algn="l" defTabSz="543505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Open Sans Light"/>
              </a:defRPr>
            </a:lvl1pPr>
            <a:lvl2pPr marL="543505" indent="0" algn="ctr" defTabSz="543505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549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2pPr>
            <a:lvl3pPr marL="1087009" indent="0" algn="ctr" defTabSz="543505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549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3pPr>
            <a:lvl4pPr marL="1630517" indent="0" algn="ctr" defTabSz="543505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549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4pPr>
            <a:lvl5pPr marL="2174020" indent="0" algn="ctr" defTabSz="543505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549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5pPr>
            <a:lvl6pPr marL="2989277" indent="-271753" algn="l" defTabSz="543505" rtl="0" eaLnBrk="1" latinLnBrk="0" hangingPunct="1">
              <a:spcBef>
                <a:spcPct val="20000"/>
              </a:spcBef>
              <a:buFont typeface="Arial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2783" indent="-271753" algn="l" defTabSz="543505" rtl="0" eaLnBrk="1" latinLnBrk="0" hangingPunct="1">
              <a:spcBef>
                <a:spcPct val="20000"/>
              </a:spcBef>
              <a:buFont typeface="Arial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76289" indent="-271753" algn="l" defTabSz="543505" rtl="0" eaLnBrk="1" latinLnBrk="0" hangingPunct="1">
              <a:spcBef>
                <a:spcPct val="20000"/>
              </a:spcBef>
              <a:buFont typeface="Arial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19794" indent="-271753" algn="l" defTabSz="543505" rtl="0" eaLnBrk="1" latinLnBrk="0" hangingPunct="1">
              <a:spcBef>
                <a:spcPct val="20000"/>
              </a:spcBef>
              <a:buFont typeface="Arial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chemeClr val="bg1"/>
                </a:solidFill>
              </a:rPr>
              <a:t>Data rebalances across the cluster automatically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chemeClr val="bg1"/>
                </a:solidFill>
              </a:rPr>
              <a:t>Expand by adding media and/or additional storage system with zero downtime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chemeClr val="bg1"/>
                </a:solidFill>
              </a:rPr>
              <a:t>Shrink to phase-out old hardware and media with zero downtime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chemeClr val="bg1"/>
                </a:solidFill>
              </a:rPr>
              <a:t>Use latest media, supports mixed media sizes and type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chemeClr val="bg1"/>
                </a:solidFill>
              </a:rPr>
              <a:t>Use the latest servers, including certified models for major vendor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chemeClr val="bg1"/>
                </a:solidFill>
              </a:rPr>
              <a:t>Dynamically recategorize data into different storage classes / tiers</a:t>
            </a:r>
          </a:p>
        </p:txBody>
      </p:sp>
      <p:sp>
        <p:nvSpPr>
          <p:cNvPr id="11" name="Title 5">
            <a:extLst>
              <a:ext uri="{FF2B5EF4-FFF2-40B4-BE49-F238E27FC236}">
                <a16:creationId xmlns:a16="http://schemas.microsoft.com/office/drawing/2014/main" id="{154D32E0-E2B9-6A4C-34C0-4821DB62E97D}"/>
              </a:ext>
            </a:extLst>
          </p:cNvPr>
          <p:cNvSpPr txBox="1">
            <a:spLocks/>
          </p:cNvSpPr>
          <p:nvPr/>
        </p:nvSpPr>
        <p:spPr>
          <a:xfrm>
            <a:off x="1143000" y="1207009"/>
            <a:ext cx="22094952" cy="1386098"/>
          </a:xfrm>
          <a:prstGeom prst="rect">
            <a:avLst/>
          </a:prstGeom>
          <a:noFill/>
        </p:spPr>
        <p:txBody>
          <a:bodyPr lIns="0" tIns="0" rIns="0" bIns="0" anchor="b" anchorCtr="0">
            <a:noAutofit/>
          </a:bodyPr>
          <a:lstStyle>
            <a:lvl1pPr algn="l" defTabSz="54350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bg2"/>
                </a:solidFill>
                <a:latin typeface="+mj-lt"/>
                <a:ea typeface="+mj-ea"/>
                <a:cs typeface="Open Sans"/>
              </a:defRPr>
            </a:lvl1pPr>
          </a:lstStyle>
          <a:p>
            <a:pPr defTabSz="1087010">
              <a:defRPr/>
            </a:pPr>
            <a:r>
              <a:rPr lang="en-US" sz="7200" dirty="0">
                <a:solidFill>
                  <a:srgbClr val="6EBE49"/>
                </a:solidFill>
                <a:latin typeface="Arial" panose="020B0604020202020204"/>
              </a:rPr>
              <a:t>Eliminate Complex Data Migrations</a:t>
            </a:r>
          </a:p>
        </p:txBody>
      </p:sp>
      <p:sp>
        <p:nvSpPr>
          <p:cNvPr id="13" name="Double Wave 12">
            <a:extLst>
              <a:ext uri="{FF2B5EF4-FFF2-40B4-BE49-F238E27FC236}">
                <a16:creationId xmlns:a16="http://schemas.microsoft.com/office/drawing/2014/main" id="{3AF81FA7-FD9C-3D35-FFDA-1A0AC383F52B}"/>
              </a:ext>
            </a:extLst>
          </p:cNvPr>
          <p:cNvSpPr/>
          <p:nvPr/>
        </p:nvSpPr>
        <p:spPr>
          <a:xfrm>
            <a:off x="6866260" y="4934983"/>
            <a:ext cx="15091108" cy="1938738"/>
          </a:xfrm>
          <a:prstGeom prst="doubleWave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 dirty="0">
              <a:latin typeface="Open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1181398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9" dur="5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0" dur="5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8" dur="5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9" dur="500"/>
                                        <p:tgtEl>
                                          <p:spTgt spid="11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0" dur="5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2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4" grpId="0" animBg="1"/>
      <p:bldP spid="114" grpId="1" animBg="1"/>
      <p:bldP spid="116" grpId="0" animBg="1"/>
      <p:bldP spid="116" grpId="1" animBg="1"/>
      <p:bldP spid="117" grpId="0" animBg="1"/>
      <p:bldP spid="117" grpId="1" animBg="1"/>
      <p:bldP spid="118" grpId="0" animBg="1"/>
      <p:bldP spid="118" grpId="1" animBg="1"/>
      <p:bldP spid="119" grpId="0" animBg="1"/>
      <p:bldP spid="119" grpId="1" animBg="1"/>
      <p:bldP spid="120" grpId="0" animBg="1"/>
      <p:bldP spid="120" grpId="1" animBg="1"/>
      <p:bldP spid="13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Text Placeholder 6">
            <a:extLst>
              <a:ext uri="{FF2B5EF4-FFF2-40B4-BE49-F238E27FC236}">
                <a16:creationId xmlns:a16="http://schemas.microsoft.com/office/drawing/2014/main" id="{6D7517F3-F34D-A161-36F6-059CB14183FA}"/>
              </a:ext>
            </a:extLst>
          </p:cNvPr>
          <p:cNvSpPr txBox="1">
            <a:spLocks/>
          </p:cNvSpPr>
          <p:nvPr/>
        </p:nvSpPr>
        <p:spPr>
          <a:xfrm>
            <a:off x="1447800" y="6700845"/>
            <a:ext cx="20600332" cy="4839390"/>
          </a:xfrm>
          <a:prstGeom prst="rect">
            <a:avLst/>
          </a:prstGeom>
        </p:spPr>
        <p:txBody>
          <a:bodyPr/>
          <a:lstStyle>
            <a:lvl1pPr marL="0" indent="0" algn="l" defTabSz="543505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Open Sans Light"/>
              </a:defRPr>
            </a:lvl1pPr>
            <a:lvl2pPr marL="543505" indent="0" algn="ctr" defTabSz="543505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549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2pPr>
            <a:lvl3pPr marL="1087009" indent="0" algn="ctr" defTabSz="543505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549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3pPr>
            <a:lvl4pPr marL="1630517" indent="0" algn="ctr" defTabSz="543505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549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4pPr>
            <a:lvl5pPr marL="2174020" indent="0" algn="ctr" defTabSz="543505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549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5pPr>
            <a:lvl6pPr marL="2989277" indent="-271753" algn="l" defTabSz="543505" rtl="0" eaLnBrk="1" latinLnBrk="0" hangingPunct="1">
              <a:spcBef>
                <a:spcPct val="20000"/>
              </a:spcBef>
              <a:buFont typeface="Arial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2783" indent="-271753" algn="l" defTabSz="543505" rtl="0" eaLnBrk="1" latinLnBrk="0" hangingPunct="1">
              <a:spcBef>
                <a:spcPct val="20000"/>
              </a:spcBef>
              <a:buFont typeface="Arial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76289" indent="-271753" algn="l" defTabSz="543505" rtl="0" eaLnBrk="1" latinLnBrk="0" hangingPunct="1">
              <a:spcBef>
                <a:spcPct val="20000"/>
              </a:spcBef>
              <a:buFont typeface="Arial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19794" indent="-271753" algn="l" defTabSz="543505" rtl="0" eaLnBrk="1" latinLnBrk="0" hangingPunct="1">
              <a:spcBef>
                <a:spcPct val="20000"/>
              </a:spcBef>
              <a:buFont typeface="Arial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600" dirty="0">
                <a:solidFill>
                  <a:schemeClr val="bg1"/>
                </a:solidFill>
              </a:rPr>
              <a:t>Industry Leading Durability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chemeClr val="bg1"/>
                </a:solidFill>
              </a:rPr>
              <a:t>Hardware Erasure Coding (Seagate ADAPT) provides 99.9999% durability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chemeClr val="bg1"/>
                </a:solidFill>
              </a:rPr>
              <a:t>Software Erasure Coding (Ceph based) provides 99.9999% durability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chemeClr val="bg1"/>
                </a:solidFill>
              </a:rPr>
              <a:t>Combined they provide 99.999999999999% (14 nines) of durability</a:t>
            </a:r>
          </a:p>
          <a:p>
            <a:r>
              <a:rPr lang="en-US" sz="3600" dirty="0">
                <a:solidFill>
                  <a:schemeClr val="bg1"/>
                </a:solidFill>
              </a:rPr>
              <a:t>Simplified Maintenance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chemeClr val="bg1"/>
                </a:solidFill>
              </a:rPr>
              <a:t>Drive rebuilds are localized to the Seagate Corvault units, no network impact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chemeClr val="bg1"/>
                </a:solidFill>
              </a:rPr>
              <a:t>Can handle multiple drive failures in every node simultaneously with no downtime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5E9EC507-E833-DDA4-23CC-43CD1E878CAA}"/>
              </a:ext>
            </a:extLst>
          </p:cNvPr>
          <p:cNvGrpSpPr/>
          <p:nvPr/>
        </p:nvGrpSpPr>
        <p:grpSpPr>
          <a:xfrm>
            <a:off x="6098509" y="3604940"/>
            <a:ext cx="12560090" cy="2526384"/>
            <a:chOff x="3049254" y="1573870"/>
            <a:chExt cx="6280045" cy="1263192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A39DC2C8-96D9-1963-3774-F27E1BD8289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049254" y="1573870"/>
              <a:ext cx="1180553" cy="1263192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A0AE3A5A-1A83-69D7-2414-36609BE58A3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324127" y="1573870"/>
              <a:ext cx="1180553" cy="1263192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61BD830B-965C-E578-E121-4D0EA928897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599000" y="1573870"/>
              <a:ext cx="1180553" cy="1263192"/>
            </a:xfrm>
            <a:prstGeom prst="rect">
              <a:avLst/>
            </a:prstGeom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72F2BE76-287D-BF0F-0F56-D14156B9FF2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873873" y="1573870"/>
              <a:ext cx="1180553" cy="1263192"/>
            </a:xfrm>
            <a:prstGeom prst="rect">
              <a:avLst/>
            </a:prstGeom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D1AA882B-DE9D-9468-D676-28BB4BE387A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148746" y="1573870"/>
              <a:ext cx="1180553" cy="1263192"/>
            </a:xfrm>
            <a:prstGeom prst="rect">
              <a:avLst/>
            </a:prstGeom>
          </p:spPr>
        </p:pic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58FA26FF-840B-3B62-8D98-A8CEEE43678F}"/>
              </a:ext>
            </a:extLst>
          </p:cNvPr>
          <p:cNvGrpSpPr/>
          <p:nvPr/>
        </p:nvGrpSpPr>
        <p:grpSpPr>
          <a:xfrm>
            <a:off x="6069078" y="4171824"/>
            <a:ext cx="2390536" cy="1806432"/>
            <a:chOff x="1299524" y="1654862"/>
            <a:chExt cx="1195268" cy="903216"/>
          </a:xfrm>
        </p:grpSpPr>
        <p:sp>
          <p:nvSpPr>
            <p:cNvPr id="11" name="Arrow: Left-Right 10">
              <a:extLst>
                <a:ext uri="{FF2B5EF4-FFF2-40B4-BE49-F238E27FC236}">
                  <a16:creationId xmlns:a16="http://schemas.microsoft.com/office/drawing/2014/main" id="{13E24625-0DDC-6AD0-6AA3-06431F7F4502}"/>
                </a:ext>
              </a:extLst>
            </p:cNvPr>
            <p:cNvSpPr/>
            <p:nvPr/>
          </p:nvSpPr>
          <p:spPr>
            <a:xfrm>
              <a:off x="1299524" y="1654862"/>
              <a:ext cx="1195267" cy="411112"/>
            </a:xfrm>
            <a:prstGeom prst="leftRightArrow">
              <a:avLst>
                <a:gd name="adj1" fmla="val 65969"/>
                <a:gd name="adj2" fmla="val 50000"/>
              </a:avLst>
            </a:prstGeom>
            <a:solidFill>
              <a:schemeClr val="accent2"/>
            </a:solidFill>
            <a:ln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  <a:latin typeface="+mj-lt"/>
                </a:rPr>
                <a:t>HW Erasure Coding</a:t>
              </a:r>
            </a:p>
          </p:txBody>
        </p:sp>
        <p:sp>
          <p:nvSpPr>
            <p:cNvPr id="13" name="Arrow: Left-Right 12">
              <a:extLst>
                <a:ext uri="{FF2B5EF4-FFF2-40B4-BE49-F238E27FC236}">
                  <a16:creationId xmlns:a16="http://schemas.microsoft.com/office/drawing/2014/main" id="{F57CCEA0-EF18-9E0F-CA44-8F6FF2A174F5}"/>
                </a:ext>
              </a:extLst>
            </p:cNvPr>
            <p:cNvSpPr/>
            <p:nvPr/>
          </p:nvSpPr>
          <p:spPr>
            <a:xfrm>
              <a:off x="1299525" y="2146966"/>
              <a:ext cx="1195267" cy="411112"/>
            </a:xfrm>
            <a:prstGeom prst="leftRightArrow">
              <a:avLst>
                <a:gd name="adj1" fmla="val 65969"/>
                <a:gd name="adj2" fmla="val 50000"/>
              </a:avLst>
            </a:prstGeom>
            <a:solidFill>
              <a:schemeClr val="accent2"/>
            </a:solidFill>
            <a:ln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  <a:latin typeface="+mj-lt"/>
                </a:rPr>
                <a:t>HW Erasure Coding</a:t>
              </a: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BB9E2AA9-752A-6F69-6EA7-9A923F12CA14}"/>
              </a:ext>
            </a:extLst>
          </p:cNvPr>
          <p:cNvGrpSpPr/>
          <p:nvPr/>
        </p:nvGrpSpPr>
        <p:grpSpPr>
          <a:xfrm>
            <a:off x="8618824" y="4171824"/>
            <a:ext cx="2390536" cy="1806432"/>
            <a:chOff x="1299524" y="1654862"/>
            <a:chExt cx="1195268" cy="903216"/>
          </a:xfrm>
        </p:grpSpPr>
        <p:sp>
          <p:nvSpPr>
            <p:cNvPr id="28" name="Arrow: Left-Right 27">
              <a:extLst>
                <a:ext uri="{FF2B5EF4-FFF2-40B4-BE49-F238E27FC236}">
                  <a16:creationId xmlns:a16="http://schemas.microsoft.com/office/drawing/2014/main" id="{46982FC2-50AD-8341-D136-5874027E5570}"/>
                </a:ext>
              </a:extLst>
            </p:cNvPr>
            <p:cNvSpPr/>
            <p:nvPr/>
          </p:nvSpPr>
          <p:spPr>
            <a:xfrm>
              <a:off x="1299524" y="1654862"/>
              <a:ext cx="1195267" cy="411112"/>
            </a:xfrm>
            <a:prstGeom prst="leftRightArrow">
              <a:avLst>
                <a:gd name="adj1" fmla="val 65969"/>
                <a:gd name="adj2" fmla="val 50000"/>
              </a:avLst>
            </a:prstGeom>
            <a:solidFill>
              <a:schemeClr val="accent2"/>
            </a:solidFill>
            <a:ln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  <a:latin typeface="+mj-lt"/>
                </a:rPr>
                <a:t>HW Erasure Coding</a:t>
              </a:r>
            </a:p>
          </p:txBody>
        </p:sp>
        <p:sp>
          <p:nvSpPr>
            <p:cNvPr id="29" name="Arrow: Left-Right 28">
              <a:extLst>
                <a:ext uri="{FF2B5EF4-FFF2-40B4-BE49-F238E27FC236}">
                  <a16:creationId xmlns:a16="http://schemas.microsoft.com/office/drawing/2014/main" id="{83B47E02-2FB1-73A7-2BE2-3E13FBD82AA9}"/>
                </a:ext>
              </a:extLst>
            </p:cNvPr>
            <p:cNvSpPr/>
            <p:nvPr/>
          </p:nvSpPr>
          <p:spPr>
            <a:xfrm>
              <a:off x="1299525" y="2146966"/>
              <a:ext cx="1195267" cy="411112"/>
            </a:xfrm>
            <a:prstGeom prst="leftRightArrow">
              <a:avLst>
                <a:gd name="adj1" fmla="val 65969"/>
                <a:gd name="adj2" fmla="val 50000"/>
              </a:avLst>
            </a:prstGeom>
            <a:solidFill>
              <a:schemeClr val="accent2"/>
            </a:solidFill>
            <a:ln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  <a:latin typeface="+mj-lt"/>
                </a:rPr>
                <a:t>HW Erasure Coding</a:t>
              </a: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B91259E6-CB6A-34F6-FBFE-5FE17A817A76}"/>
              </a:ext>
            </a:extLst>
          </p:cNvPr>
          <p:cNvGrpSpPr/>
          <p:nvPr/>
        </p:nvGrpSpPr>
        <p:grpSpPr>
          <a:xfrm>
            <a:off x="11183284" y="4171824"/>
            <a:ext cx="2390536" cy="1806432"/>
            <a:chOff x="1299524" y="1654862"/>
            <a:chExt cx="1195268" cy="903216"/>
          </a:xfrm>
        </p:grpSpPr>
        <p:sp>
          <p:nvSpPr>
            <p:cNvPr id="31" name="Arrow: Left-Right 30">
              <a:extLst>
                <a:ext uri="{FF2B5EF4-FFF2-40B4-BE49-F238E27FC236}">
                  <a16:creationId xmlns:a16="http://schemas.microsoft.com/office/drawing/2014/main" id="{2660835D-C7D0-EB4A-E7B7-93149EB087B5}"/>
                </a:ext>
              </a:extLst>
            </p:cNvPr>
            <p:cNvSpPr/>
            <p:nvPr/>
          </p:nvSpPr>
          <p:spPr>
            <a:xfrm>
              <a:off x="1299524" y="1654862"/>
              <a:ext cx="1195267" cy="411112"/>
            </a:xfrm>
            <a:prstGeom prst="leftRightArrow">
              <a:avLst>
                <a:gd name="adj1" fmla="val 65969"/>
                <a:gd name="adj2" fmla="val 50000"/>
              </a:avLst>
            </a:prstGeom>
            <a:solidFill>
              <a:schemeClr val="accent2"/>
            </a:solidFill>
            <a:ln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  <a:latin typeface="+mj-lt"/>
                </a:rPr>
                <a:t>HW Erasure Coding</a:t>
              </a:r>
            </a:p>
          </p:txBody>
        </p:sp>
        <p:sp>
          <p:nvSpPr>
            <p:cNvPr id="32" name="Arrow: Left-Right 31">
              <a:extLst>
                <a:ext uri="{FF2B5EF4-FFF2-40B4-BE49-F238E27FC236}">
                  <a16:creationId xmlns:a16="http://schemas.microsoft.com/office/drawing/2014/main" id="{4BE9B710-A0E0-3BF2-7418-611776C76931}"/>
                </a:ext>
              </a:extLst>
            </p:cNvPr>
            <p:cNvSpPr/>
            <p:nvPr/>
          </p:nvSpPr>
          <p:spPr>
            <a:xfrm>
              <a:off x="1299525" y="2146966"/>
              <a:ext cx="1195267" cy="411112"/>
            </a:xfrm>
            <a:prstGeom prst="leftRightArrow">
              <a:avLst>
                <a:gd name="adj1" fmla="val 65969"/>
                <a:gd name="adj2" fmla="val 50000"/>
              </a:avLst>
            </a:prstGeom>
            <a:solidFill>
              <a:schemeClr val="accent2"/>
            </a:solidFill>
            <a:ln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  <a:latin typeface="+mj-lt"/>
                </a:rPr>
                <a:t>HW Erasure Coding</a:t>
              </a: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C45544C8-4424-7073-8611-1F7F574474E7}"/>
              </a:ext>
            </a:extLst>
          </p:cNvPr>
          <p:cNvGrpSpPr/>
          <p:nvPr/>
        </p:nvGrpSpPr>
        <p:grpSpPr>
          <a:xfrm>
            <a:off x="13733030" y="4171824"/>
            <a:ext cx="2390536" cy="1806432"/>
            <a:chOff x="1299524" y="1654862"/>
            <a:chExt cx="1195268" cy="903216"/>
          </a:xfrm>
        </p:grpSpPr>
        <p:sp>
          <p:nvSpPr>
            <p:cNvPr id="34" name="Arrow: Left-Right 33">
              <a:extLst>
                <a:ext uri="{FF2B5EF4-FFF2-40B4-BE49-F238E27FC236}">
                  <a16:creationId xmlns:a16="http://schemas.microsoft.com/office/drawing/2014/main" id="{49F93950-81AC-B272-B78D-43CA2575216A}"/>
                </a:ext>
              </a:extLst>
            </p:cNvPr>
            <p:cNvSpPr/>
            <p:nvPr/>
          </p:nvSpPr>
          <p:spPr>
            <a:xfrm>
              <a:off x="1299524" y="1654862"/>
              <a:ext cx="1195267" cy="411112"/>
            </a:xfrm>
            <a:prstGeom prst="leftRightArrow">
              <a:avLst>
                <a:gd name="adj1" fmla="val 65969"/>
                <a:gd name="adj2" fmla="val 50000"/>
              </a:avLst>
            </a:prstGeom>
            <a:solidFill>
              <a:schemeClr val="accent2"/>
            </a:solidFill>
            <a:ln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  <a:latin typeface="+mj-lt"/>
                </a:rPr>
                <a:t>HW Erasure Coding</a:t>
              </a:r>
            </a:p>
          </p:txBody>
        </p:sp>
        <p:sp>
          <p:nvSpPr>
            <p:cNvPr id="35" name="Arrow: Left-Right 34">
              <a:extLst>
                <a:ext uri="{FF2B5EF4-FFF2-40B4-BE49-F238E27FC236}">
                  <a16:creationId xmlns:a16="http://schemas.microsoft.com/office/drawing/2014/main" id="{B8887B5F-8076-84EA-D659-BA806547925E}"/>
                </a:ext>
              </a:extLst>
            </p:cNvPr>
            <p:cNvSpPr/>
            <p:nvPr/>
          </p:nvSpPr>
          <p:spPr>
            <a:xfrm>
              <a:off x="1299525" y="2146966"/>
              <a:ext cx="1195267" cy="411112"/>
            </a:xfrm>
            <a:prstGeom prst="leftRightArrow">
              <a:avLst>
                <a:gd name="adj1" fmla="val 65969"/>
                <a:gd name="adj2" fmla="val 50000"/>
              </a:avLst>
            </a:prstGeom>
            <a:solidFill>
              <a:schemeClr val="accent2"/>
            </a:solidFill>
            <a:ln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  <a:latin typeface="+mj-lt"/>
                </a:rPr>
                <a:t>HW Erasure Coding</a:t>
              </a: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A2455767-ED6D-6255-ECFD-E621F41C39A7}"/>
              </a:ext>
            </a:extLst>
          </p:cNvPr>
          <p:cNvGrpSpPr/>
          <p:nvPr/>
        </p:nvGrpSpPr>
        <p:grpSpPr>
          <a:xfrm>
            <a:off x="16312204" y="4171824"/>
            <a:ext cx="2390536" cy="1806432"/>
            <a:chOff x="1299524" y="1654862"/>
            <a:chExt cx="1195268" cy="903216"/>
          </a:xfrm>
        </p:grpSpPr>
        <p:sp>
          <p:nvSpPr>
            <p:cNvPr id="37" name="Arrow: Left-Right 36">
              <a:extLst>
                <a:ext uri="{FF2B5EF4-FFF2-40B4-BE49-F238E27FC236}">
                  <a16:creationId xmlns:a16="http://schemas.microsoft.com/office/drawing/2014/main" id="{0F8C4EBD-6221-2731-3506-3D3C63B64AAC}"/>
                </a:ext>
              </a:extLst>
            </p:cNvPr>
            <p:cNvSpPr/>
            <p:nvPr/>
          </p:nvSpPr>
          <p:spPr>
            <a:xfrm>
              <a:off x="1299524" y="1654862"/>
              <a:ext cx="1195267" cy="411112"/>
            </a:xfrm>
            <a:prstGeom prst="leftRightArrow">
              <a:avLst>
                <a:gd name="adj1" fmla="val 65969"/>
                <a:gd name="adj2" fmla="val 50000"/>
              </a:avLst>
            </a:prstGeom>
            <a:solidFill>
              <a:schemeClr val="accent2"/>
            </a:solidFill>
            <a:ln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  <a:latin typeface="+mj-lt"/>
                </a:rPr>
                <a:t>HW Erasure Coding</a:t>
              </a:r>
            </a:p>
          </p:txBody>
        </p:sp>
        <p:sp>
          <p:nvSpPr>
            <p:cNvPr id="38" name="Arrow: Left-Right 37">
              <a:extLst>
                <a:ext uri="{FF2B5EF4-FFF2-40B4-BE49-F238E27FC236}">
                  <a16:creationId xmlns:a16="http://schemas.microsoft.com/office/drawing/2014/main" id="{300D14FC-9A0D-6CAB-DCDC-20CE50C0176A}"/>
                </a:ext>
              </a:extLst>
            </p:cNvPr>
            <p:cNvSpPr/>
            <p:nvPr/>
          </p:nvSpPr>
          <p:spPr>
            <a:xfrm>
              <a:off x="1299525" y="2146966"/>
              <a:ext cx="1195267" cy="411112"/>
            </a:xfrm>
            <a:prstGeom prst="leftRightArrow">
              <a:avLst>
                <a:gd name="adj1" fmla="val 65969"/>
                <a:gd name="adj2" fmla="val 50000"/>
              </a:avLst>
            </a:prstGeom>
            <a:solidFill>
              <a:schemeClr val="accent2"/>
            </a:solidFill>
            <a:ln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  <a:latin typeface="+mj-lt"/>
                </a:rPr>
                <a:t>HW Erasure Coding</a:t>
              </a:r>
            </a:p>
          </p:txBody>
        </p:sp>
      </p:grpSp>
      <p:sp>
        <p:nvSpPr>
          <p:cNvPr id="40" name="Arrow: Left-Right 39">
            <a:extLst>
              <a:ext uri="{FF2B5EF4-FFF2-40B4-BE49-F238E27FC236}">
                <a16:creationId xmlns:a16="http://schemas.microsoft.com/office/drawing/2014/main" id="{23F0E1A4-234E-F16F-F1E8-600B2E0BA39B}"/>
              </a:ext>
            </a:extLst>
          </p:cNvPr>
          <p:cNvSpPr/>
          <p:nvPr/>
        </p:nvSpPr>
        <p:spPr>
          <a:xfrm>
            <a:off x="6061720" y="4011636"/>
            <a:ext cx="12633660" cy="2119688"/>
          </a:xfrm>
          <a:prstGeom prst="leftRightArrow">
            <a:avLst>
              <a:gd name="adj1" fmla="val 81148"/>
              <a:gd name="adj2" fmla="val 26930"/>
            </a:avLst>
          </a:prstGeom>
          <a:solidFill>
            <a:schemeClr val="accent2">
              <a:lumMod val="75000"/>
              <a:alpha val="71000"/>
            </a:schemeClr>
          </a:solidFill>
          <a:ln>
            <a:solidFill>
              <a:schemeClr val="bg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solidFill>
                  <a:schemeClr val="bg1"/>
                </a:solidFill>
                <a:latin typeface="+mj-lt"/>
              </a:rPr>
              <a:t>Software Erasure Coding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F5EE8301-3182-3950-A9EA-8691587A70AC}"/>
              </a:ext>
            </a:extLst>
          </p:cNvPr>
          <p:cNvSpPr txBox="1">
            <a:spLocks/>
          </p:cNvSpPr>
          <p:nvPr/>
        </p:nvSpPr>
        <p:spPr>
          <a:xfrm>
            <a:off x="1447800" y="1511809"/>
            <a:ext cx="22094952" cy="1386098"/>
          </a:xfrm>
          <a:prstGeom prst="rect">
            <a:avLst/>
          </a:prstGeom>
        </p:spPr>
        <p:txBody>
          <a:bodyPr/>
          <a:lstStyle>
            <a:lvl1pPr algn="ctr" defTabSz="543505" rtl="0" eaLnBrk="1" latinLnBrk="0" hangingPunct="1">
              <a:spcBef>
                <a:spcPct val="0"/>
              </a:spcBef>
              <a:buNone/>
              <a:defRPr sz="4000" kern="1200">
                <a:solidFill>
                  <a:schemeClr val="bg2"/>
                </a:solidFill>
                <a:latin typeface="+mj-lt"/>
                <a:ea typeface="+mj-ea"/>
                <a:cs typeface="Open Sans"/>
              </a:defRPr>
            </a:lvl1pPr>
          </a:lstStyle>
          <a:p>
            <a:pPr algn="l"/>
            <a:r>
              <a:rPr lang="en-US" sz="8000" b="1" dirty="0"/>
              <a:t>Ultra-high Durability</a:t>
            </a:r>
          </a:p>
        </p:txBody>
      </p:sp>
    </p:spTree>
    <p:extLst>
      <p:ext uri="{BB962C8B-B14F-4D97-AF65-F5344CB8AC3E}">
        <p14:creationId xmlns:p14="http://schemas.microsoft.com/office/powerpoint/2010/main" val="1934139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DBF8AF0-E91A-DC19-D479-3554586788B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35732" y="2769480"/>
            <a:ext cx="7018712" cy="6326908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Replicate unidirectionally or bidirectionally between zones.</a:t>
            </a:r>
          </a:p>
          <a:p>
            <a:r>
              <a:rPr lang="en-US" dirty="0">
                <a:solidFill>
                  <a:schemeClr val="bg1"/>
                </a:solidFill>
              </a:rPr>
              <a:t>Objects are queued to replicate automatically between sites without delay.</a:t>
            </a:r>
          </a:p>
          <a:p>
            <a:r>
              <a:rPr lang="en-US" dirty="0">
                <a:solidFill>
                  <a:schemeClr val="bg1"/>
                </a:solidFill>
              </a:rPr>
              <a:t>Clusters/zones can asymmetrical with different hardware generations, EC layouts, media sizes, types, and different sized clusters.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5E32E5A3-6C3F-3B76-E2E7-CB04FB378406}"/>
              </a:ext>
            </a:extLst>
          </p:cNvPr>
          <p:cNvGrpSpPr/>
          <p:nvPr/>
        </p:nvGrpSpPr>
        <p:grpSpPr>
          <a:xfrm>
            <a:off x="8800618" y="4795732"/>
            <a:ext cx="5798160" cy="4590260"/>
            <a:chOff x="5549883" y="2156335"/>
            <a:chExt cx="4798408" cy="3798781"/>
          </a:xfrm>
        </p:grpSpPr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507BEF48-A131-DBCD-F381-DAFEEB5D5D5C}"/>
                </a:ext>
              </a:extLst>
            </p:cNvPr>
            <p:cNvGrpSpPr/>
            <p:nvPr/>
          </p:nvGrpSpPr>
          <p:grpSpPr>
            <a:xfrm>
              <a:off x="5549883" y="2163458"/>
              <a:ext cx="1180555" cy="3791658"/>
              <a:chOff x="3891924" y="2148171"/>
              <a:chExt cx="1180555" cy="3791658"/>
            </a:xfrm>
          </p:grpSpPr>
          <p:pic>
            <p:nvPicPr>
              <p:cNvPr id="49" name="Picture 48">
                <a:extLst>
                  <a:ext uri="{FF2B5EF4-FFF2-40B4-BE49-F238E27FC236}">
                    <a16:creationId xmlns:a16="http://schemas.microsoft.com/office/drawing/2014/main" id="{20D79B30-CD81-BD32-2190-ABE4332811F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3891926" y="2148171"/>
                <a:ext cx="1180553" cy="1263192"/>
              </a:xfrm>
              <a:prstGeom prst="rect">
                <a:avLst/>
              </a:prstGeom>
            </p:spPr>
          </p:pic>
          <p:pic>
            <p:nvPicPr>
              <p:cNvPr id="50" name="Picture 49">
                <a:extLst>
                  <a:ext uri="{FF2B5EF4-FFF2-40B4-BE49-F238E27FC236}">
                    <a16:creationId xmlns:a16="http://schemas.microsoft.com/office/drawing/2014/main" id="{2A08D780-FDD2-A1C4-1FF9-702FDB33D9B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3891924" y="3413445"/>
                <a:ext cx="1180553" cy="1263192"/>
              </a:xfrm>
              <a:prstGeom prst="rect">
                <a:avLst/>
              </a:prstGeom>
            </p:spPr>
          </p:pic>
          <p:pic>
            <p:nvPicPr>
              <p:cNvPr id="51" name="Picture 50">
                <a:extLst>
                  <a:ext uri="{FF2B5EF4-FFF2-40B4-BE49-F238E27FC236}">
                    <a16:creationId xmlns:a16="http://schemas.microsoft.com/office/drawing/2014/main" id="{1BE87C8B-E59A-169F-0560-503AFB45359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3891926" y="4676637"/>
                <a:ext cx="1180553" cy="1263192"/>
              </a:xfrm>
              <a:prstGeom prst="rect">
                <a:avLst/>
              </a:prstGeom>
            </p:spPr>
          </p:pic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70E415FB-3DAA-C740-1FA2-45CD49D329F1}"/>
                </a:ext>
              </a:extLst>
            </p:cNvPr>
            <p:cNvGrpSpPr/>
            <p:nvPr/>
          </p:nvGrpSpPr>
          <p:grpSpPr>
            <a:xfrm>
              <a:off x="6755836" y="2156335"/>
              <a:ext cx="1180555" cy="3791658"/>
              <a:chOff x="3891924" y="2148171"/>
              <a:chExt cx="1180555" cy="3791658"/>
            </a:xfrm>
          </p:grpSpPr>
          <p:pic>
            <p:nvPicPr>
              <p:cNvPr id="53" name="Picture 52">
                <a:extLst>
                  <a:ext uri="{FF2B5EF4-FFF2-40B4-BE49-F238E27FC236}">
                    <a16:creationId xmlns:a16="http://schemas.microsoft.com/office/drawing/2014/main" id="{0449C170-6031-90B3-26C2-DB669F77AFB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3891926" y="2148171"/>
                <a:ext cx="1180553" cy="1263192"/>
              </a:xfrm>
              <a:prstGeom prst="rect">
                <a:avLst/>
              </a:prstGeom>
            </p:spPr>
          </p:pic>
          <p:pic>
            <p:nvPicPr>
              <p:cNvPr id="54" name="Picture 53">
                <a:extLst>
                  <a:ext uri="{FF2B5EF4-FFF2-40B4-BE49-F238E27FC236}">
                    <a16:creationId xmlns:a16="http://schemas.microsoft.com/office/drawing/2014/main" id="{EE63A4DB-D6EB-4600-377D-B02B29A41C0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3891924" y="3413445"/>
                <a:ext cx="1180553" cy="1263192"/>
              </a:xfrm>
              <a:prstGeom prst="rect">
                <a:avLst/>
              </a:prstGeom>
            </p:spPr>
          </p:pic>
          <p:pic>
            <p:nvPicPr>
              <p:cNvPr id="55" name="Picture 54">
                <a:extLst>
                  <a:ext uri="{FF2B5EF4-FFF2-40B4-BE49-F238E27FC236}">
                    <a16:creationId xmlns:a16="http://schemas.microsoft.com/office/drawing/2014/main" id="{49A4D8B8-697C-E38E-6914-220D3405862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3891926" y="4676637"/>
                <a:ext cx="1180553" cy="1263192"/>
              </a:xfrm>
              <a:prstGeom prst="rect">
                <a:avLst/>
              </a:prstGeom>
            </p:spPr>
          </p:pic>
        </p:grp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B10E3D52-5EF7-DCC5-9416-DC9B34E3CE88}"/>
                </a:ext>
              </a:extLst>
            </p:cNvPr>
            <p:cNvGrpSpPr/>
            <p:nvPr/>
          </p:nvGrpSpPr>
          <p:grpSpPr>
            <a:xfrm>
              <a:off x="7961787" y="2156335"/>
              <a:ext cx="1180555" cy="3791658"/>
              <a:chOff x="3891924" y="2148171"/>
              <a:chExt cx="1180555" cy="3791658"/>
            </a:xfrm>
          </p:grpSpPr>
          <p:pic>
            <p:nvPicPr>
              <p:cNvPr id="57" name="Picture 56">
                <a:extLst>
                  <a:ext uri="{FF2B5EF4-FFF2-40B4-BE49-F238E27FC236}">
                    <a16:creationId xmlns:a16="http://schemas.microsoft.com/office/drawing/2014/main" id="{6F23E058-1DC3-3A15-3D27-656EF26AAF5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3891926" y="2148171"/>
                <a:ext cx="1180553" cy="1263192"/>
              </a:xfrm>
              <a:prstGeom prst="rect">
                <a:avLst/>
              </a:prstGeom>
            </p:spPr>
          </p:pic>
          <p:pic>
            <p:nvPicPr>
              <p:cNvPr id="58" name="Picture 57">
                <a:extLst>
                  <a:ext uri="{FF2B5EF4-FFF2-40B4-BE49-F238E27FC236}">
                    <a16:creationId xmlns:a16="http://schemas.microsoft.com/office/drawing/2014/main" id="{A880F1E1-E2FF-B7FA-AC0F-A997A18ED99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3891924" y="3413445"/>
                <a:ext cx="1180553" cy="1263192"/>
              </a:xfrm>
              <a:prstGeom prst="rect">
                <a:avLst/>
              </a:prstGeom>
            </p:spPr>
          </p:pic>
          <p:pic>
            <p:nvPicPr>
              <p:cNvPr id="59" name="Picture 58">
                <a:extLst>
                  <a:ext uri="{FF2B5EF4-FFF2-40B4-BE49-F238E27FC236}">
                    <a16:creationId xmlns:a16="http://schemas.microsoft.com/office/drawing/2014/main" id="{B5D19B77-27DE-7E74-B25C-F78C012E1EE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3891926" y="4676637"/>
                <a:ext cx="1180553" cy="1263192"/>
              </a:xfrm>
              <a:prstGeom prst="rect">
                <a:avLst/>
              </a:prstGeom>
            </p:spPr>
          </p:pic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25293827-5C7C-291F-4E88-5F06241B56A1}"/>
                </a:ext>
              </a:extLst>
            </p:cNvPr>
            <p:cNvGrpSpPr/>
            <p:nvPr/>
          </p:nvGrpSpPr>
          <p:grpSpPr>
            <a:xfrm>
              <a:off x="9167736" y="2156335"/>
              <a:ext cx="1180555" cy="3791658"/>
              <a:chOff x="3891924" y="2148171"/>
              <a:chExt cx="1180555" cy="3791658"/>
            </a:xfrm>
          </p:grpSpPr>
          <p:pic>
            <p:nvPicPr>
              <p:cNvPr id="61" name="Picture 60">
                <a:extLst>
                  <a:ext uri="{FF2B5EF4-FFF2-40B4-BE49-F238E27FC236}">
                    <a16:creationId xmlns:a16="http://schemas.microsoft.com/office/drawing/2014/main" id="{90CE8FB4-5ECC-B5BD-298F-74A71ADB870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3891926" y="2148171"/>
                <a:ext cx="1180553" cy="1263192"/>
              </a:xfrm>
              <a:prstGeom prst="rect">
                <a:avLst/>
              </a:prstGeom>
            </p:spPr>
          </p:pic>
          <p:pic>
            <p:nvPicPr>
              <p:cNvPr id="62" name="Picture 61">
                <a:extLst>
                  <a:ext uri="{FF2B5EF4-FFF2-40B4-BE49-F238E27FC236}">
                    <a16:creationId xmlns:a16="http://schemas.microsoft.com/office/drawing/2014/main" id="{636AAFB8-8601-0DA1-C6B0-02C5664CF03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3891924" y="3413445"/>
                <a:ext cx="1180553" cy="1263192"/>
              </a:xfrm>
              <a:prstGeom prst="rect">
                <a:avLst/>
              </a:prstGeom>
            </p:spPr>
          </p:pic>
          <p:pic>
            <p:nvPicPr>
              <p:cNvPr id="63" name="Picture 62">
                <a:extLst>
                  <a:ext uri="{FF2B5EF4-FFF2-40B4-BE49-F238E27FC236}">
                    <a16:creationId xmlns:a16="http://schemas.microsoft.com/office/drawing/2014/main" id="{78920CFD-AA2B-4F56-15AF-36FB90B7F18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3891926" y="4676637"/>
                <a:ext cx="1180553" cy="1263192"/>
              </a:xfrm>
              <a:prstGeom prst="rect">
                <a:avLst/>
              </a:prstGeom>
            </p:spPr>
          </p:pic>
        </p:grpSp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EB86B47E-E96C-9565-A6B4-804BBD81DCFC}"/>
                </a:ext>
              </a:extLst>
            </p:cNvPr>
            <p:cNvSpPr/>
            <p:nvPr/>
          </p:nvSpPr>
          <p:spPr>
            <a:xfrm>
              <a:off x="5626243" y="2265679"/>
              <a:ext cx="4615037" cy="3605759"/>
            </a:xfrm>
            <a:prstGeom prst="rect">
              <a:avLst/>
            </a:prstGeom>
            <a:solidFill>
              <a:schemeClr val="accent2">
                <a:alpha val="55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3200" b="1" dirty="0">
                  <a:latin typeface="Open Sans Light"/>
                </a:rPr>
                <a:t>OBJECT STORAGE ZONE</a:t>
              </a:r>
            </a:p>
            <a:p>
              <a:pPr algn="ctr"/>
              <a:r>
                <a:rPr lang="en-US" sz="3200" b="1" dirty="0">
                  <a:latin typeface="Open Sans Light"/>
                </a:rPr>
                <a:t>us-east-1</a:t>
              </a:r>
            </a:p>
          </p:txBody>
        </p:sp>
      </p:grpSp>
      <p:sp>
        <p:nvSpPr>
          <p:cNvPr id="11" name="Title 5">
            <a:extLst>
              <a:ext uri="{FF2B5EF4-FFF2-40B4-BE49-F238E27FC236}">
                <a16:creationId xmlns:a16="http://schemas.microsoft.com/office/drawing/2014/main" id="{3C008165-CCE5-5EE0-B150-26E7E3FF5B63}"/>
              </a:ext>
            </a:extLst>
          </p:cNvPr>
          <p:cNvSpPr txBox="1">
            <a:spLocks/>
          </p:cNvSpPr>
          <p:nvPr/>
        </p:nvSpPr>
        <p:spPr>
          <a:xfrm>
            <a:off x="1143000" y="456505"/>
            <a:ext cx="22094952" cy="1386098"/>
          </a:xfrm>
          <a:prstGeom prst="rect">
            <a:avLst/>
          </a:prstGeom>
          <a:noFill/>
        </p:spPr>
        <p:txBody>
          <a:bodyPr lIns="0" tIns="0" rIns="0" bIns="0" anchor="b" anchorCtr="0">
            <a:noAutofit/>
          </a:bodyPr>
          <a:lstStyle>
            <a:lvl1pPr algn="l" defTabSz="54350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bg2"/>
                </a:solidFill>
                <a:latin typeface="+mj-lt"/>
                <a:ea typeface="+mj-ea"/>
                <a:cs typeface="Open Sans"/>
              </a:defRPr>
            </a:lvl1pPr>
          </a:lstStyle>
          <a:p>
            <a:pPr defTabSz="1087010">
              <a:defRPr/>
            </a:pPr>
            <a:r>
              <a:rPr lang="en-US" sz="7200" dirty="0">
                <a:solidFill>
                  <a:srgbClr val="6EBE49"/>
                </a:solidFill>
                <a:latin typeface="Arial" panose="020B0604020202020204"/>
              </a:rPr>
              <a:t>Multisite Zone &amp; Bucket Replication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98447CCF-6C93-DD84-08F6-618E22229890}"/>
              </a:ext>
            </a:extLst>
          </p:cNvPr>
          <p:cNvGrpSpPr/>
          <p:nvPr/>
        </p:nvGrpSpPr>
        <p:grpSpPr>
          <a:xfrm>
            <a:off x="17072096" y="2593106"/>
            <a:ext cx="5798160" cy="4590260"/>
            <a:chOff x="5549883" y="2156335"/>
            <a:chExt cx="4798408" cy="3798781"/>
          </a:xfrm>
        </p:grpSpPr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B5576E6C-398D-025D-2AA1-EFDB619071AC}"/>
                </a:ext>
              </a:extLst>
            </p:cNvPr>
            <p:cNvGrpSpPr/>
            <p:nvPr/>
          </p:nvGrpSpPr>
          <p:grpSpPr>
            <a:xfrm>
              <a:off x="5549883" y="2163458"/>
              <a:ext cx="1180555" cy="3791658"/>
              <a:chOff x="3891924" y="2148171"/>
              <a:chExt cx="1180555" cy="3791658"/>
            </a:xfrm>
          </p:grpSpPr>
          <p:pic>
            <p:nvPicPr>
              <p:cNvPr id="37" name="Picture 36">
                <a:extLst>
                  <a:ext uri="{FF2B5EF4-FFF2-40B4-BE49-F238E27FC236}">
                    <a16:creationId xmlns:a16="http://schemas.microsoft.com/office/drawing/2014/main" id="{6C6AB49A-BBCB-22D9-CE85-8F7DE80D44D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3891926" y="2148171"/>
                <a:ext cx="1180553" cy="1263192"/>
              </a:xfrm>
              <a:prstGeom prst="rect">
                <a:avLst/>
              </a:prstGeom>
            </p:spPr>
          </p:pic>
          <p:pic>
            <p:nvPicPr>
              <p:cNvPr id="38" name="Picture 37">
                <a:extLst>
                  <a:ext uri="{FF2B5EF4-FFF2-40B4-BE49-F238E27FC236}">
                    <a16:creationId xmlns:a16="http://schemas.microsoft.com/office/drawing/2014/main" id="{1E3047D2-87DB-5F19-2BF9-59DCBEECD61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3891924" y="3413445"/>
                <a:ext cx="1180553" cy="1263192"/>
              </a:xfrm>
              <a:prstGeom prst="rect">
                <a:avLst/>
              </a:prstGeom>
            </p:spPr>
          </p:pic>
          <p:pic>
            <p:nvPicPr>
              <p:cNvPr id="39" name="Picture 38">
                <a:extLst>
                  <a:ext uri="{FF2B5EF4-FFF2-40B4-BE49-F238E27FC236}">
                    <a16:creationId xmlns:a16="http://schemas.microsoft.com/office/drawing/2014/main" id="{1A434C41-A9E0-25B9-163E-EF2322CD38A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3891926" y="4676637"/>
                <a:ext cx="1180553" cy="1263192"/>
              </a:xfrm>
              <a:prstGeom prst="rect">
                <a:avLst/>
              </a:prstGeom>
            </p:spPr>
          </p:pic>
        </p:grp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1D24B037-0AA8-5313-9ECF-2763B9A1DEBB}"/>
                </a:ext>
              </a:extLst>
            </p:cNvPr>
            <p:cNvGrpSpPr/>
            <p:nvPr/>
          </p:nvGrpSpPr>
          <p:grpSpPr>
            <a:xfrm>
              <a:off x="6755836" y="2156335"/>
              <a:ext cx="1180555" cy="3791658"/>
              <a:chOff x="3891924" y="2148171"/>
              <a:chExt cx="1180555" cy="3791658"/>
            </a:xfrm>
          </p:grpSpPr>
          <p:pic>
            <p:nvPicPr>
              <p:cNvPr id="34" name="Picture 33">
                <a:extLst>
                  <a:ext uri="{FF2B5EF4-FFF2-40B4-BE49-F238E27FC236}">
                    <a16:creationId xmlns:a16="http://schemas.microsoft.com/office/drawing/2014/main" id="{2B3BB3DF-9B39-30C0-5ACD-E903E16C1F0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3891926" y="2148171"/>
                <a:ext cx="1180553" cy="1263192"/>
              </a:xfrm>
              <a:prstGeom prst="rect">
                <a:avLst/>
              </a:prstGeom>
            </p:spPr>
          </p:pic>
          <p:pic>
            <p:nvPicPr>
              <p:cNvPr id="35" name="Picture 34">
                <a:extLst>
                  <a:ext uri="{FF2B5EF4-FFF2-40B4-BE49-F238E27FC236}">
                    <a16:creationId xmlns:a16="http://schemas.microsoft.com/office/drawing/2014/main" id="{1F8BC5ED-59D7-A48A-7792-FBF1B39486E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3891924" y="3413445"/>
                <a:ext cx="1180553" cy="1263192"/>
              </a:xfrm>
              <a:prstGeom prst="rect">
                <a:avLst/>
              </a:prstGeom>
            </p:spPr>
          </p:pic>
          <p:pic>
            <p:nvPicPr>
              <p:cNvPr id="36" name="Picture 35">
                <a:extLst>
                  <a:ext uri="{FF2B5EF4-FFF2-40B4-BE49-F238E27FC236}">
                    <a16:creationId xmlns:a16="http://schemas.microsoft.com/office/drawing/2014/main" id="{D1D43B62-F398-CC9B-EF82-D540F529848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3891926" y="4676637"/>
                <a:ext cx="1180553" cy="1263192"/>
              </a:xfrm>
              <a:prstGeom prst="rect">
                <a:avLst/>
              </a:prstGeom>
            </p:spPr>
          </p:pic>
        </p:grp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B7A4B3BF-E905-87C6-4C1D-3A535D41FC17}"/>
                </a:ext>
              </a:extLst>
            </p:cNvPr>
            <p:cNvGrpSpPr/>
            <p:nvPr/>
          </p:nvGrpSpPr>
          <p:grpSpPr>
            <a:xfrm>
              <a:off x="7961787" y="2156335"/>
              <a:ext cx="1180555" cy="3791658"/>
              <a:chOff x="3891924" y="2148171"/>
              <a:chExt cx="1180555" cy="3791658"/>
            </a:xfrm>
          </p:grpSpPr>
          <p:pic>
            <p:nvPicPr>
              <p:cNvPr id="30" name="Picture 29">
                <a:extLst>
                  <a:ext uri="{FF2B5EF4-FFF2-40B4-BE49-F238E27FC236}">
                    <a16:creationId xmlns:a16="http://schemas.microsoft.com/office/drawing/2014/main" id="{D918014F-0FEB-5B6B-EFF1-D7680CE4BE5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3891926" y="2148171"/>
                <a:ext cx="1180553" cy="1263192"/>
              </a:xfrm>
              <a:prstGeom prst="rect">
                <a:avLst/>
              </a:prstGeom>
            </p:spPr>
          </p:pic>
          <p:pic>
            <p:nvPicPr>
              <p:cNvPr id="32" name="Picture 31">
                <a:extLst>
                  <a:ext uri="{FF2B5EF4-FFF2-40B4-BE49-F238E27FC236}">
                    <a16:creationId xmlns:a16="http://schemas.microsoft.com/office/drawing/2014/main" id="{0676883F-D949-9CD1-2103-43EFDE2FA16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3891924" y="3413445"/>
                <a:ext cx="1180553" cy="1263192"/>
              </a:xfrm>
              <a:prstGeom prst="rect">
                <a:avLst/>
              </a:prstGeom>
            </p:spPr>
          </p:pic>
          <p:pic>
            <p:nvPicPr>
              <p:cNvPr id="33" name="Picture 32">
                <a:extLst>
                  <a:ext uri="{FF2B5EF4-FFF2-40B4-BE49-F238E27FC236}">
                    <a16:creationId xmlns:a16="http://schemas.microsoft.com/office/drawing/2014/main" id="{D1294712-2193-77E0-FB0E-694579F9506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3891926" y="4676637"/>
                <a:ext cx="1180553" cy="1263192"/>
              </a:xfrm>
              <a:prstGeom prst="rect">
                <a:avLst/>
              </a:prstGeom>
            </p:spPr>
          </p:pic>
        </p:grp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8EB82213-289C-7384-C089-F8199B0E2ECD}"/>
                </a:ext>
              </a:extLst>
            </p:cNvPr>
            <p:cNvGrpSpPr/>
            <p:nvPr/>
          </p:nvGrpSpPr>
          <p:grpSpPr>
            <a:xfrm>
              <a:off x="9167736" y="2156335"/>
              <a:ext cx="1180555" cy="3791658"/>
              <a:chOff x="3891924" y="2148171"/>
              <a:chExt cx="1180555" cy="3791658"/>
            </a:xfrm>
          </p:grpSpPr>
          <p:pic>
            <p:nvPicPr>
              <p:cNvPr id="27" name="Picture 26">
                <a:extLst>
                  <a:ext uri="{FF2B5EF4-FFF2-40B4-BE49-F238E27FC236}">
                    <a16:creationId xmlns:a16="http://schemas.microsoft.com/office/drawing/2014/main" id="{8900D610-2573-48A8-4339-5C30CDC24DB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3891926" y="2148171"/>
                <a:ext cx="1180553" cy="1263192"/>
              </a:xfrm>
              <a:prstGeom prst="rect">
                <a:avLst/>
              </a:prstGeom>
            </p:spPr>
          </p:pic>
          <p:pic>
            <p:nvPicPr>
              <p:cNvPr id="28" name="Picture 27">
                <a:extLst>
                  <a:ext uri="{FF2B5EF4-FFF2-40B4-BE49-F238E27FC236}">
                    <a16:creationId xmlns:a16="http://schemas.microsoft.com/office/drawing/2014/main" id="{FB9213DA-5FB0-0D46-8882-F0877232267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3891924" y="3413445"/>
                <a:ext cx="1180553" cy="1263192"/>
              </a:xfrm>
              <a:prstGeom prst="rect">
                <a:avLst/>
              </a:prstGeom>
            </p:spPr>
          </p:pic>
          <p:pic>
            <p:nvPicPr>
              <p:cNvPr id="29" name="Picture 28">
                <a:extLst>
                  <a:ext uri="{FF2B5EF4-FFF2-40B4-BE49-F238E27FC236}">
                    <a16:creationId xmlns:a16="http://schemas.microsoft.com/office/drawing/2014/main" id="{0F5C6BC0-5D68-D44A-BBD8-36F95BB0BAF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3891926" y="4676637"/>
                <a:ext cx="1180553" cy="1263192"/>
              </a:xfrm>
              <a:prstGeom prst="rect">
                <a:avLst/>
              </a:prstGeom>
            </p:spPr>
          </p:pic>
        </p:grp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512B5049-B06A-E345-B32A-EB8A9391ECAA}"/>
                </a:ext>
              </a:extLst>
            </p:cNvPr>
            <p:cNvSpPr/>
            <p:nvPr/>
          </p:nvSpPr>
          <p:spPr>
            <a:xfrm>
              <a:off x="5626243" y="2265679"/>
              <a:ext cx="4615037" cy="3605759"/>
            </a:xfrm>
            <a:prstGeom prst="rect">
              <a:avLst/>
            </a:prstGeom>
            <a:solidFill>
              <a:schemeClr val="accent2">
                <a:alpha val="55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3200" b="1" dirty="0">
                  <a:latin typeface="Open Sans Light"/>
                </a:rPr>
                <a:t>OBJECT STORAGE ZONE</a:t>
              </a:r>
            </a:p>
            <a:p>
              <a:pPr algn="ctr"/>
              <a:r>
                <a:rPr lang="en-US" sz="3200" b="1" dirty="0">
                  <a:latin typeface="Open Sans Light"/>
                </a:rPr>
                <a:t>us-west-1</a:t>
              </a: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506DBB2E-832C-C4CC-D643-19A8A8C4C927}"/>
              </a:ext>
            </a:extLst>
          </p:cNvPr>
          <p:cNvGrpSpPr/>
          <p:nvPr/>
        </p:nvGrpSpPr>
        <p:grpSpPr>
          <a:xfrm>
            <a:off x="17072098" y="8091186"/>
            <a:ext cx="5798160" cy="4590260"/>
            <a:chOff x="5549883" y="2156335"/>
            <a:chExt cx="4798408" cy="3798781"/>
          </a:xfrm>
        </p:grpSpPr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59D19559-18AE-D41B-9308-733EBD4ACCE7}"/>
                </a:ext>
              </a:extLst>
            </p:cNvPr>
            <p:cNvGrpSpPr/>
            <p:nvPr/>
          </p:nvGrpSpPr>
          <p:grpSpPr>
            <a:xfrm>
              <a:off x="5549883" y="2163458"/>
              <a:ext cx="1180555" cy="3791658"/>
              <a:chOff x="3891924" y="2148171"/>
              <a:chExt cx="1180555" cy="3791658"/>
            </a:xfrm>
          </p:grpSpPr>
          <p:pic>
            <p:nvPicPr>
              <p:cNvPr id="82" name="Picture 81">
                <a:extLst>
                  <a:ext uri="{FF2B5EF4-FFF2-40B4-BE49-F238E27FC236}">
                    <a16:creationId xmlns:a16="http://schemas.microsoft.com/office/drawing/2014/main" id="{BDF15082-C1AA-2166-F641-5740A331604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3891926" y="2148171"/>
                <a:ext cx="1180553" cy="1263192"/>
              </a:xfrm>
              <a:prstGeom prst="rect">
                <a:avLst/>
              </a:prstGeom>
            </p:spPr>
          </p:pic>
          <p:pic>
            <p:nvPicPr>
              <p:cNvPr id="83" name="Picture 82">
                <a:extLst>
                  <a:ext uri="{FF2B5EF4-FFF2-40B4-BE49-F238E27FC236}">
                    <a16:creationId xmlns:a16="http://schemas.microsoft.com/office/drawing/2014/main" id="{A7063304-D6DD-F0FA-4CA6-7210DB6F760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3891924" y="3413445"/>
                <a:ext cx="1180553" cy="1263192"/>
              </a:xfrm>
              <a:prstGeom prst="rect">
                <a:avLst/>
              </a:prstGeom>
            </p:spPr>
          </p:pic>
          <p:pic>
            <p:nvPicPr>
              <p:cNvPr id="84" name="Picture 83">
                <a:extLst>
                  <a:ext uri="{FF2B5EF4-FFF2-40B4-BE49-F238E27FC236}">
                    <a16:creationId xmlns:a16="http://schemas.microsoft.com/office/drawing/2014/main" id="{ED95795E-E5D2-0107-3E1A-C832B939C91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3891926" y="4676637"/>
                <a:ext cx="1180553" cy="1263192"/>
              </a:xfrm>
              <a:prstGeom prst="rect">
                <a:avLst/>
              </a:prstGeom>
            </p:spPr>
          </p:pic>
        </p:grpSp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DB2505D6-D0A5-8524-22F2-A2436DF43047}"/>
                </a:ext>
              </a:extLst>
            </p:cNvPr>
            <p:cNvGrpSpPr/>
            <p:nvPr/>
          </p:nvGrpSpPr>
          <p:grpSpPr>
            <a:xfrm>
              <a:off x="6755836" y="2156335"/>
              <a:ext cx="1180555" cy="3791658"/>
              <a:chOff x="3891924" y="2148171"/>
              <a:chExt cx="1180555" cy="3791658"/>
            </a:xfrm>
          </p:grpSpPr>
          <p:pic>
            <p:nvPicPr>
              <p:cNvPr id="79" name="Picture 78">
                <a:extLst>
                  <a:ext uri="{FF2B5EF4-FFF2-40B4-BE49-F238E27FC236}">
                    <a16:creationId xmlns:a16="http://schemas.microsoft.com/office/drawing/2014/main" id="{4E2D126A-BD47-0B9E-8CA1-B2EF2A4EA8E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3891926" y="2148171"/>
                <a:ext cx="1180553" cy="1263192"/>
              </a:xfrm>
              <a:prstGeom prst="rect">
                <a:avLst/>
              </a:prstGeom>
            </p:spPr>
          </p:pic>
          <p:pic>
            <p:nvPicPr>
              <p:cNvPr id="80" name="Picture 79">
                <a:extLst>
                  <a:ext uri="{FF2B5EF4-FFF2-40B4-BE49-F238E27FC236}">
                    <a16:creationId xmlns:a16="http://schemas.microsoft.com/office/drawing/2014/main" id="{5EC99F79-617A-F071-B66A-115B2D083C2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3891924" y="3413445"/>
                <a:ext cx="1180553" cy="1263192"/>
              </a:xfrm>
              <a:prstGeom prst="rect">
                <a:avLst/>
              </a:prstGeom>
            </p:spPr>
          </p:pic>
          <p:pic>
            <p:nvPicPr>
              <p:cNvPr id="81" name="Picture 80">
                <a:extLst>
                  <a:ext uri="{FF2B5EF4-FFF2-40B4-BE49-F238E27FC236}">
                    <a16:creationId xmlns:a16="http://schemas.microsoft.com/office/drawing/2014/main" id="{97419A55-DFD3-5521-1CEC-5B5ED4DB5F0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3891926" y="4676637"/>
                <a:ext cx="1180553" cy="1263192"/>
              </a:xfrm>
              <a:prstGeom prst="rect">
                <a:avLst/>
              </a:prstGeom>
            </p:spPr>
          </p:pic>
        </p:grp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58742387-E766-4640-DF8D-595423A0A772}"/>
                </a:ext>
              </a:extLst>
            </p:cNvPr>
            <p:cNvGrpSpPr/>
            <p:nvPr/>
          </p:nvGrpSpPr>
          <p:grpSpPr>
            <a:xfrm>
              <a:off x="7961787" y="2156335"/>
              <a:ext cx="1180555" cy="3791658"/>
              <a:chOff x="3891924" y="2148171"/>
              <a:chExt cx="1180555" cy="3791658"/>
            </a:xfrm>
          </p:grpSpPr>
          <p:pic>
            <p:nvPicPr>
              <p:cNvPr id="68" name="Picture 67">
                <a:extLst>
                  <a:ext uri="{FF2B5EF4-FFF2-40B4-BE49-F238E27FC236}">
                    <a16:creationId xmlns:a16="http://schemas.microsoft.com/office/drawing/2014/main" id="{6A030149-03A2-C71E-6D21-B4F5D968877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3891926" y="2148171"/>
                <a:ext cx="1180553" cy="1263192"/>
              </a:xfrm>
              <a:prstGeom prst="rect">
                <a:avLst/>
              </a:prstGeom>
            </p:spPr>
          </p:pic>
          <p:pic>
            <p:nvPicPr>
              <p:cNvPr id="77" name="Picture 76">
                <a:extLst>
                  <a:ext uri="{FF2B5EF4-FFF2-40B4-BE49-F238E27FC236}">
                    <a16:creationId xmlns:a16="http://schemas.microsoft.com/office/drawing/2014/main" id="{A6E1E5EC-88E5-D120-FFD8-5C1F62CCF23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3891924" y="3413445"/>
                <a:ext cx="1180553" cy="1263192"/>
              </a:xfrm>
              <a:prstGeom prst="rect">
                <a:avLst/>
              </a:prstGeom>
            </p:spPr>
          </p:pic>
          <p:pic>
            <p:nvPicPr>
              <p:cNvPr id="78" name="Picture 77">
                <a:extLst>
                  <a:ext uri="{FF2B5EF4-FFF2-40B4-BE49-F238E27FC236}">
                    <a16:creationId xmlns:a16="http://schemas.microsoft.com/office/drawing/2014/main" id="{69444249-82FF-ECD6-7B04-945DD282670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3891926" y="4676637"/>
                <a:ext cx="1180553" cy="1263192"/>
              </a:xfrm>
              <a:prstGeom prst="rect">
                <a:avLst/>
              </a:prstGeom>
            </p:spPr>
          </p:pic>
        </p:grpSp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id="{F78E9B46-8FE2-2B93-576B-527F516E1B16}"/>
                </a:ext>
              </a:extLst>
            </p:cNvPr>
            <p:cNvGrpSpPr/>
            <p:nvPr/>
          </p:nvGrpSpPr>
          <p:grpSpPr>
            <a:xfrm>
              <a:off x="9167736" y="2156335"/>
              <a:ext cx="1180555" cy="3791658"/>
              <a:chOff x="3891924" y="2148171"/>
              <a:chExt cx="1180555" cy="3791658"/>
            </a:xfrm>
          </p:grpSpPr>
          <p:pic>
            <p:nvPicPr>
              <p:cNvPr id="64" name="Picture 63">
                <a:extLst>
                  <a:ext uri="{FF2B5EF4-FFF2-40B4-BE49-F238E27FC236}">
                    <a16:creationId xmlns:a16="http://schemas.microsoft.com/office/drawing/2014/main" id="{BAB34CEA-4F3C-FD38-06FA-6C90F4FB854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3891926" y="2148171"/>
                <a:ext cx="1180553" cy="1263192"/>
              </a:xfrm>
              <a:prstGeom prst="rect">
                <a:avLst/>
              </a:prstGeom>
            </p:spPr>
          </p:pic>
          <p:pic>
            <p:nvPicPr>
              <p:cNvPr id="65" name="Picture 64">
                <a:extLst>
                  <a:ext uri="{FF2B5EF4-FFF2-40B4-BE49-F238E27FC236}">
                    <a16:creationId xmlns:a16="http://schemas.microsoft.com/office/drawing/2014/main" id="{9AEB56B9-64DC-FDFB-4ADB-A0201DF32D1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3891924" y="3413445"/>
                <a:ext cx="1180553" cy="1263192"/>
              </a:xfrm>
              <a:prstGeom prst="rect">
                <a:avLst/>
              </a:prstGeom>
            </p:spPr>
          </p:pic>
          <p:pic>
            <p:nvPicPr>
              <p:cNvPr id="67" name="Picture 66">
                <a:extLst>
                  <a:ext uri="{FF2B5EF4-FFF2-40B4-BE49-F238E27FC236}">
                    <a16:creationId xmlns:a16="http://schemas.microsoft.com/office/drawing/2014/main" id="{8D9EC62F-8866-8945-08F3-4390A104700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3891926" y="4676637"/>
                <a:ext cx="1180553" cy="1263192"/>
              </a:xfrm>
              <a:prstGeom prst="rect">
                <a:avLst/>
              </a:prstGeom>
            </p:spPr>
          </p:pic>
        </p:grp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3A74ECDA-165C-4478-2542-B976A4E46BB4}"/>
                </a:ext>
              </a:extLst>
            </p:cNvPr>
            <p:cNvSpPr/>
            <p:nvPr/>
          </p:nvSpPr>
          <p:spPr>
            <a:xfrm>
              <a:off x="5626243" y="2265679"/>
              <a:ext cx="4615037" cy="3605759"/>
            </a:xfrm>
            <a:prstGeom prst="rect">
              <a:avLst/>
            </a:prstGeom>
            <a:solidFill>
              <a:schemeClr val="accent2">
                <a:alpha val="55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3200" b="1" dirty="0">
                  <a:latin typeface="Open Sans Light"/>
                </a:rPr>
                <a:t>OBJECT STORAGE ZONE</a:t>
              </a:r>
            </a:p>
            <a:p>
              <a:pPr algn="ctr"/>
              <a:r>
                <a:rPr lang="en-US" sz="3200" b="1" dirty="0">
                  <a:latin typeface="Open Sans Light"/>
                </a:rPr>
                <a:t>us-south-1</a:t>
              </a:r>
            </a:p>
          </p:txBody>
        </p:sp>
      </p:grpSp>
      <p:sp>
        <p:nvSpPr>
          <p:cNvPr id="85" name="Arrow: Left-Right 84">
            <a:extLst>
              <a:ext uri="{FF2B5EF4-FFF2-40B4-BE49-F238E27FC236}">
                <a16:creationId xmlns:a16="http://schemas.microsoft.com/office/drawing/2014/main" id="{D5679E52-79E1-6680-2D77-E0B8F08273F5}"/>
              </a:ext>
            </a:extLst>
          </p:cNvPr>
          <p:cNvSpPr/>
          <p:nvPr/>
        </p:nvSpPr>
        <p:spPr>
          <a:xfrm rot="1305383">
            <a:off x="14918534" y="8551163"/>
            <a:ext cx="1845612" cy="661254"/>
          </a:xfrm>
          <a:prstGeom prst="leftRightArrow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 dirty="0">
              <a:latin typeface="Open Sans Light"/>
            </a:endParaRPr>
          </a:p>
        </p:txBody>
      </p:sp>
      <p:sp>
        <p:nvSpPr>
          <p:cNvPr id="86" name="Arrow: Left-Right 85">
            <a:extLst>
              <a:ext uri="{FF2B5EF4-FFF2-40B4-BE49-F238E27FC236}">
                <a16:creationId xmlns:a16="http://schemas.microsoft.com/office/drawing/2014/main" id="{0F5572FB-09A1-B90A-BB5F-BCD5861CB011}"/>
              </a:ext>
            </a:extLst>
          </p:cNvPr>
          <p:cNvSpPr/>
          <p:nvPr/>
        </p:nvSpPr>
        <p:spPr>
          <a:xfrm rot="20072971">
            <a:off x="14902444" y="5160205"/>
            <a:ext cx="1845612" cy="661254"/>
          </a:xfrm>
          <a:prstGeom prst="leftRightArrow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 dirty="0">
              <a:latin typeface="Open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885934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5" grpId="0" animBg="1"/>
      <p:bldP spid="86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Text Placeholder 6">
            <a:extLst>
              <a:ext uri="{FF2B5EF4-FFF2-40B4-BE49-F238E27FC236}">
                <a16:creationId xmlns:a16="http://schemas.microsoft.com/office/drawing/2014/main" id="{6D7517F3-F34D-A161-36F6-059CB14183FA}"/>
              </a:ext>
            </a:extLst>
          </p:cNvPr>
          <p:cNvSpPr txBox="1">
            <a:spLocks/>
          </p:cNvSpPr>
          <p:nvPr/>
        </p:nvSpPr>
        <p:spPr>
          <a:xfrm>
            <a:off x="1282664" y="3386447"/>
            <a:ext cx="13449336" cy="6943106"/>
          </a:xfrm>
          <a:prstGeom prst="rect">
            <a:avLst/>
          </a:prstGeom>
        </p:spPr>
        <p:txBody>
          <a:bodyPr/>
          <a:lstStyle>
            <a:lvl1pPr marL="0" indent="0" algn="l" defTabSz="543505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Open Sans Light"/>
              </a:defRPr>
            </a:lvl1pPr>
            <a:lvl2pPr marL="543505" indent="0" algn="ctr" defTabSz="543505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549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2pPr>
            <a:lvl3pPr marL="1087009" indent="0" algn="ctr" defTabSz="543505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549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3pPr>
            <a:lvl4pPr marL="1630517" indent="0" algn="ctr" defTabSz="543505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549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4pPr>
            <a:lvl5pPr marL="2174020" indent="0" algn="ctr" defTabSz="543505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549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5pPr>
            <a:lvl6pPr marL="2989277" indent="-271753" algn="l" defTabSz="543505" rtl="0" eaLnBrk="1" latinLnBrk="0" hangingPunct="1">
              <a:spcBef>
                <a:spcPct val="20000"/>
              </a:spcBef>
              <a:buFont typeface="Arial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2783" indent="-271753" algn="l" defTabSz="543505" rtl="0" eaLnBrk="1" latinLnBrk="0" hangingPunct="1">
              <a:spcBef>
                <a:spcPct val="20000"/>
              </a:spcBef>
              <a:buFont typeface="Arial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76289" indent="-271753" algn="l" defTabSz="543505" rtl="0" eaLnBrk="1" latinLnBrk="0" hangingPunct="1">
              <a:spcBef>
                <a:spcPct val="20000"/>
              </a:spcBef>
              <a:buFont typeface="Arial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19794" indent="-271753" algn="l" defTabSz="543505" rtl="0" eaLnBrk="1" latinLnBrk="0" hangingPunct="1">
              <a:spcBef>
                <a:spcPct val="20000"/>
              </a:spcBef>
              <a:buFont typeface="Arial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chemeClr val="bg1"/>
                </a:solidFill>
              </a:rPr>
              <a:t>Strongest protection will come from using </a:t>
            </a:r>
            <a:r>
              <a:rPr lang="en-US" sz="3600" b="1" dirty="0">
                <a:solidFill>
                  <a:schemeClr val="bg1"/>
                </a:solidFill>
              </a:rPr>
              <a:t>Compliance</a:t>
            </a:r>
            <a:r>
              <a:rPr lang="en-US" sz="3600" dirty="0">
                <a:solidFill>
                  <a:schemeClr val="bg1"/>
                </a:solidFill>
              </a:rPr>
              <a:t> mode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chemeClr val="bg1"/>
                </a:solidFill>
              </a:rPr>
              <a:t>Test retention policies using </a:t>
            </a:r>
            <a:r>
              <a:rPr lang="en-US" sz="3600" b="1" dirty="0">
                <a:solidFill>
                  <a:schemeClr val="bg1"/>
                </a:solidFill>
              </a:rPr>
              <a:t>Governance</a:t>
            </a:r>
            <a:r>
              <a:rPr lang="en-US" sz="3600" dirty="0">
                <a:solidFill>
                  <a:schemeClr val="bg1"/>
                </a:solidFill>
              </a:rPr>
              <a:t> mode first as it has overrides that can be used to administratively delete bucket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sz="3600" b="1" dirty="0">
                <a:solidFill>
                  <a:schemeClr val="bg1"/>
                </a:solidFill>
              </a:rPr>
              <a:t>Compliance &amp; Governance </a:t>
            </a:r>
            <a:r>
              <a:rPr lang="en-US" sz="3600" dirty="0">
                <a:solidFill>
                  <a:schemeClr val="bg1"/>
                </a:solidFill>
              </a:rPr>
              <a:t>modes prevent deletion of objects for a set period of time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chemeClr val="bg1"/>
                </a:solidFill>
              </a:rPr>
              <a:t>Ransomware attacks will leave ‘delete markers’ which can be easily removed.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chemeClr val="bg1"/>
                </a:solidFill>
              </a:rPr>
              <a:t>Legal-Hold is a per-object policy that can be set as an additional protection on specific objects.  This prevents explicit removal and removal by Compliance/Governance lifecycle policies.</a:t>
            </a:r>
          </a:p>
        </p:txBody>
      </p:sp>
      <p:sp>
        <p:nvSpPr>
          <p:cNvPr id="11" name="Title 5">
            <a:extLst>
              <a:ext uri="{FF2B5EF4-FFF2-40B4-BE49-F238E27FC236}">
                <a16:creationId xmlns:a16="http://schemas.microsoft.com/office/drawing/2014/main" id="{154D32E0-E2B9-6A4C-34C0-4821DB62E97D}"/>
              </a:ext>
            </a:extLst>
          </p:cNvPr>
          <p:cNvSpPr txBox="1">
            <a:spLocks/>
          </p:cNvSpPr>
          <p:nvPr/>
        </p:nvSpPr>
        <p:spPr>
          <a:xfrm>
            <a:off x="1143000" y="1207009"/>
            <a:ext cx="22094952" cy="1386098"/>
          </a:xfrm>
          <a:prstGeom prst="rect">
            <a:avLst/>
          </a:prstGeom>
          <a:noFill/>
        </p:spPr>
        <p:txBody>
          <a:bodyPr lIns="0" tIns="0" rIns="0" bIns="0" anchor="b" anchorCtr="0">
            <a:noAutofit/>
          </a:bodyPr>
          <a:lstStyle>
            <a:lvl1pPr algn="l" defTabSz="54350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bg2"/>
                </a:solidFill>
                <a:latin typeface="+mj-lt"/>
                <a:ea typeface="+mj-ea"/>
                <a:cs typeface="Open Sans"/>
              </a:defRPr>
            </a:lvl1pPr>
          </a:lstStyle>
          <a:p>
            <a:pPr defTabSz="1087010">
              <a:defRPr/>
            </a:pPr>
            <a:r>
              <a:rPr lang="en-US" sz="7200" dirty="0">
                <a:solidFill>
                  <a:srgbClr val="6EBE49"/>
                </a:solidFill>
                <a:latin typeface="Arial" panose="020B0604020202020204"/>
              </a:rPr>
              <a:t>Data Security / Ransomware Protection</a:t>
            </a:r>
          </a:p>
        </p:txBody>
      </p:sp>
      <p:sp>
        <p:nvSpPr>
          <p:cNvPr id="2" name="Flowchart: Manual Operation 1">
            <a:extLst>
              <a:ext uri="{FF2B5EF4-FFF2-40B4-BE49-F238E27FC236}">
                <a16:creationId xmlns:a16="http://schemas.microsoft.com/office/drawing/2014/main" id="{4CE99B66-1AA5-362A-8A29-105230CE9C13}"/>
              </a:ext>
            </a:extLst>
          </p:cNvPr>
          <p:cNvSpPr/>
          <p:nvPr/>
        </p:nvSpPr>
        <p:spPr>
          <a:xfrm>
            <a:off x="18451702" y="4846718"/>
            <a:ext cx="2263712" cy="1896428"/>
          </a:xfrm>
          <a:prstGeom prst="flowChartManualOperation">
            <a:avLst/>
          </a:prstGeom>
          <a:solidFill>
            <a:schemeClr val="accent1">
              <a:lumMod val="50000"/>
            </a:schemeClr>
          </a:solidFill>
          <a:ln w="28575">
            <a:solidFill>
              <a:schemeClr val="bg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latin typeface="Open Sans Light"/>
              </a:rPr>
              <a:t>Bucket</a:t>
            </a:r>
          </a:p>
        </p:txBody>
      </p:sp>
      <p:sp>
        <p:nvSpPr>
          <p:cNvPr id="3" name="Cube 2">
            <a:extLst>
              <a:ext uri="{FF2B5EF4-FFF2-40B4-BE49-F238E27FC236}">
                <a16:creationId xmlns:a16="http://schemas.microsoft.com/office/drawing/2014/main" id="{D59D4D5C-4FC0-B644-BD65-F596CE024BAF}"/>
              </a:ext>
            </a:extLst>
          </p:cNvPr>
          <p:cNvSpPr/>
          <p:nvPr/>
        </p:nvSpPr>
        <p:spPr>
          <a:xfrm>
            <a:off x="16791926" y="5167947"/>
            <a:ext cx="609600" cy="661454"/>
          </a:xfrm>
          <a:prstGeom prst="cube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 dirty="0">
              <a:latin typeface="Open Sans Light"/>
            </a:endParaRPr>
          </a:p>
        </p:txBody>
      </p:sp>
      <p:sp>
        <p:nvSpPr>
          <p:cNvPr id="4" name="Cube 3">
            <a:extLst>
              <a:ext uri="{FF2B5EF4-FFF2-40B4-BE49-F238E27FC236}">
                <a16:creationId xmlns:a16="http://schemas.microsoft.com/office/drawing/2014/main" id="{4AA0CB41-2EFF-ABE0-CFEC-DC12B223647F}"/>
              </a:ext>
            </a:extLst>
          </p:cNvPr>
          <p:cNvSpPr/>
          <p:nvPr/>
        </p:nvSpPr>
        <p:spPr>
          <a:xfrm>
            <a:off x="16791926" y="6063574"/>
            <a:ext cx="1158436" cy="1136492"/>
          </a:xfrm>
          <a:prstGeom prst="cube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 dirty="0">
              <a:latin typeface="Open Sans Light"/>
            </a:endParaRPr>
          </a:p>
        </p:txBody>
      </p:sp>
      <p:sp>
        <p:nvSpPr>
          <p:cNvPr id="5" name="Cube 4">
            <a:extLst>
              <a:ext uri="{FF2B5EF4-FFF2-40B4-BE49-F238E27FC236}">
                <a16:creationId xmlns:a16="http://schemas.microsoft.com/office/drawing/2014/main" id="{9A59C714-53D0-ED34-3F0E-FAA43796BB33}"/>
              </a:ext>
            </a:extLst>
          </p:cNvPr>
          <p:cNvSpPr/>
          <p:nvPr/>
        </p:nvSpPr>
        <p:spPr>
          <a:xfrm>
            <a:off x="16791927" y="8659740"/>
            <a:ext cx="356634" cy="381176"/>
          </a:xfrm>
          <a:prstGeom prst="cube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 dirty="0">
              <a:latin typeface="Open Sans Light"/>
            </a:endParaRPr>
          </a:p>
        </p:txBody>
      </p:sp>
      <p:sp>
        <p:nvSpPr>
          <p:cNvPr id="6" name="Cube 5">
            <a:extLst>
              <a:ext uri="{FF2B5EF4-FFF2-40B4-BE49-F238E27FC236}">
                <a16:creationId xmlns:a16="http://schemas.microsoft.com/office/drawing/2014/main" id="{73AD1875-FDB5-0FB7-90F5-BBA833BE152F}"/>
              </a:ext>
            </a:extLst>
          </p:cNvPr>
          <p:cNvSpPr/>
          <p:nvPr/>
        </p:nvSpPr>
        <p:spPr>
          <a:xfrm>
            <a:off x="16791927" y="4465542"/>
            <a:ext cx="356634" cy="381176"/>
          </a:xfrm>
          <a:prstGeom prst="cube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 dirty="0">
              <a:latin typeface="Open Sans Light"/>
            </a:endParaRPr>
          </a:p>
        </p:txBody>
      </p:sp>
      <p:sp>
        <p:nvSpPr>
          <p:cNvPr id="7" name="Cube 6">
            <a:extLst>
              <a:ext uri="{FF2B5EF4-FFF2-40B4-BE49-F238E27FC236}">
                <a16:creationId xmlns:a16="http://schemas.microsoft.com/office/drawing/2014/main" id="{A3B27FFA-E2BC-1B3C-6E1D-AD382F79474C}"/>
              </a:ext>
            </a:extLst>
          </p:cNvPr>
          <p:cNvSpPr/>
          <p:nvPr/>
        </p:nvSpPr>
        <p:spPr>
          <a:xfrm>
            <a:off x="16791927" y="9301256"/>
            <a:ext cx="356634" cy="381176"/>
          </a:xfrm>
          <a:prstGeom prst="cube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 dirty="0">
              <a:latin typeface="Open Sans Light"/>
            </a:endParaRPr>
          </a:p>
        </p:txBody>
      </p:sp>
      <p:sp>
        <p:nvSpPr>
          <p:cNvPr id="8" name="Cube 7">
            <a:extLst>
              <a:ext uri="{FF2B5EF4-FFF2-40B4-BE49-F238E27FC236}">
                <a16:creationId xmlns:a16="http://schemas.microsoft.com/office/drawing/2014/main" id="{DD3CFDD8-3AD6-F36F-361A-ABFDD4582D92}"/>
              </a:ext>
            </a:extLst>
          </p:cNvPr>
          <p:cNvSpPr/>
          <p:nvPr/>
        </p:nvSpPr>
        <p:spPr>
          <a:xfrm>
            <a:off x="16791927" y="8018224"/>
            <a:ext cx="356634" cy="381176"/>
          </a:xfrm>
          <a:prstGeom prst="cube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 dirty="0">
              <a:latin typeface="Open Sans Light"/>
            </a:endParaRPr>
          </a:p>
        </p:txBody>
      </p:sp>
      <p:sp>
        <p:nvSpPr>
          <p:cNvPr id="9" name="Cube 8">
            <a:extLst>
              <a:ext uri="{FF2B5EF4-FFF2-40B4-BE49-F238E27FC236}">
                <a16:creationId xmlns:a16="http://schemas.microsoft.com/office/drawing/2014/main" id="{3A9B18D9-9182-93D8-4BA5-C13C15A06AC9}"/>
              </a:ext>
            </a:extLst>
          </p:cNvPr>
          <p:cNvSpPr/>
          <p:nvPr/>
        </p:nvSpPr>
        <p:spPr>
          <a:xfrm>
            <a:off x="16791927" y="10136962"/>
            <a:ext cx="356634" cy="381176"/>
          </a:xfrm>
          <a:prstGeom prst="cube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 dirty="0">
              <a:latin typeface="Open Sans Light"/>
            </a:endParaRPr>
          </a:p>
        </p:txBody>
      </p:sp>
      <p:sp>
        <p:nvSpPr>
          <p:cNvPr id="10" name="Cube 9">
            <a:extLst>
              <a:ext uri="{FF2B5EF4-FFF2-40B4-BE49-F238E27FC236}">
                <a16:creationId xmlns:a16="http://schemas.microsoft.com/office/drawing/2014/main" id="{2300F9FE-A20D-7C00-8D84-CC463160C205}"/>
              </a:ext>
            </a:extLst>
          </p:cNvPr>
          <p:cNvSpPr/>
          <p:nvPr/>
        </p:nvSpPr>
        <p:spPr>
          <a:xfrm>
            <a:off x="16122021" y="4465542"/>
            <a:ext cx="356634" cy="381176"/>
          </a:xfrm>
          <a:prstGeom prst="cube">
            <a:avLst/>
          </a:prstGeom>
          <a:solidFill>
            <a:srgbClr val="C00000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200" b="1" dirty="0">
                <a:latin typeface="Open Sans Light"/>
              </a:rPr>
              <a:t>D</a:t>
            </a:r>
          </a:p>
        </p:txBody>
      </p:sp>
      <p:sp>
        <p:nvSpPr>
          <p:cNvPr id="13" name="Cube 12">
            <a:extLst>
              <a:ext uri="{FF2B5EF4-FFF2-40B4-BE49-F238E27FC236}">
                <a16:creationId xmlns:a16="http://schemas.microsoft.com/office/drawing/2014/main" id="{93B037FB-553F-4CE0-1115-D07B5DBED6F4}"/>
              </a:ext>
            </a:extLst>
          </p:cNvPr>
          <p:cNvSpPr/>
          <p:nvPr/>
        </p:nvSpPr>
        <p:spPr>
          <a:xfrm>
            <a:off x="16122021" y="5341560"/>
            <a:ext cx="356634" cy="381176"/>
          </a:xfrm>
          <a:prstGeom prst="cube">
            <a:avLst/>
          </a:prstGeom>
          <a:solidFill>
            <a:srgbClr val="C00000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200" b="1" dirty="0">
                <a:latin typeface="Open Sans Light"/>
              </a:rPr>
              <a:t>D</a:t>
            </a:r>
          </a:p>
        </p:txBody>
      </p:sp>
      <p:sp>
        <p:nvSpPr>
          <p:cNvPr id="14" name="Cube 13">
            <a:extLst>
              <a:ext uri="{FF2B5EF4-FFF2-40B4-BE49-F238E27FC236}">
                <a16:creationId xmlns:a16="http://schemas.microsoft.com/office/drawing/2014/main" id="{CED01301-4294-724D-D81A-0B61D59D766D}"/>
              </a:ext>
            </a:extLst>
          </p:cNvPr>
          <p:cNvSpPr/>
          <p:nvPr/>
        </p:nvSpPr>
        <p:spPr>
          <a:xfrm>
            <a:off x="16122021" y="6480362"/>
            <a:ext cx="356634" cy="381176"/>
          </a:xfrm>
          <a:prstGeom prst="cube">
            <a:avLst/>
          </a:prstGeom>
          <a:solidFill>
            <a:srgbClr val="C00000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200" b="1" dirty="0">
                <a:latin typeface="Open Sans Light"/>
              </a:rPr>
              <a:t>D</a:t>
            </a:r>
          </a:p>
        </p:txBody>
      </p:sp>
      <p:sp>
        <p:nvSpPr>
          <p:cNvPr id="15" name="Cube 14">
            <a:extLst>
              <a:ext uri="{FF2B5EF4-FFF2-40B4-BE49-F238E27FC236}">
                <a16:creationId xmlns:a16="http://schemas.microsoft.com/office/drawing/2014/main" id="{30158F2B-91FF-255D-8B2A-0BEBFC5B501C}"/>
              </a:ext>
            </a:extLst>
          </p:cNvPr>
          <p:cNvSpPr/>
          <p:nvPr/>
        </p:nvSpPr>
        <p:spPr>
          <a:xfrm>
            <a:off x="16122019" y="8012560"/>
            <a:ext cx="356634" cy="381176"/>
          </a:xfrm>
          <a:prstGeom prst="cube">
            <a:avLst/>
          </a:prstGeom>
          <a:solidFill>
            <a:srgbClr val="C00000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200" b="1" dirty="0">
                <a:latin typeface="Open Sans Light"/>
              </a:rPr>
              <a:t>D</a:t>
            </a:r>
          </a:p>
        </p:txBody>
      </p:sp>
      <p:sp>
        <p:nvSpPr>
          <p:cNvPr id="16" name="Cube 15">
            <a:extLst>
              <a:ext uri="{FF2B5EF4-FFF2-40B4-BE49-F238E27FC236}">
                <a16:creationId xmlns:a16="http://schemas.microsoft.com/office/drawing/2014/main" id="{736E620A-6A73-E567-56AE-324A265ED263}"/>
              </a:ext>
            </a:extLst>
          </p:cNvPr>
          <p:cNvSpPr/>
          <p:nvPr/>
        </p:nvSpPr>
        <p:spPr>
          <a:xfrm>
            <a:off x="16122021" y="8697990"/>
            <a:ext cx="356634" cy="381176"/>
          </a:xfrm>
          <a:prstGeom prst="cube">
            <a:avLst/>
          </a:prstGeom>
          <a:solidFill>
            <a:srgbClr val="C00000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200" b="1" dirty="0">
                <a:latin typeface="Open Sans Light"/>
              </a:rPr>
              <a:t>D</a:t>
            </a:r>
          </a:p>
        </p:txBody>
      </p:sp>
      <p:sp>
        <p:nvSpPr>
          <p:cNvPr id="17" name="Cube 16">
            <a:extLst>
              <a:ext uri="{FF2B5EF4-FFF2-40B4-BE49-F238E27FC236}">
                <a16:creationId xmlns:a16="http://schemas.microsoft.com/office/drawing/2014/main" id="{B437F120-293F-002B-0799-52D24C2F7493}"/>
              </a:ext>
            </a:extLst>
          </p:cNvPr>
          <p:cNvSpPr/>
          <p:nvPr/>
        </p:nvSpPr>
        <p:spPr>
          <a:xfrm>
            <a:off x="16122021" y="9301256"/>
            <a:ext cx="356634" cy="381176"/>
          </a:xfrm>
          <a:prstGeom prst="cube">
            <a:avLst/>
          </a:prstGeom>
          <a:solidFill>
            <a:srgbClr val="C00000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200" b="1" dirty="0">
                <a:latin typeface="Open Sans Light"/>
              </a:rPr>
              <a:t>D</a:t>
            </a:r>
          </a:p>
        </p:txBody>
      </p:sp>
      <p:sp>
        <p:nvSpPr>
          <p:cNvPr id="18" name="Cube 17">
            <a:extLst>
              <a:ext uri="{FF2B5EF4-FFF2-40B4-BE49-F238E27FC236}">
                <a16:creationId xmlns:a16="http://schemas.microsoft.com/office/drawing/2014/main" id="{BEB41D71-E3F6-A269-150A-BD1CAB40D525}"/>
              </a:ext>
            </a:extLst>
          </p:cNvPr>
          <p:cNvSpPr/>
          <p:nvPr/>
        </p:nvSpPr>
        <p:spPr>
          <a:xfrm>
            <a:off x="16122017" y="10136962"/>
            <a:ext cx="356634" cy="381176"/>
          </a:xfrm>
          <a:prstGeom prst="cube">
            <a:avLst/>
          </a:prstGeom>
          <a:solidFill>
            <a:srgbClr val="C00000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200" b="1" dirty="0">
                <a:latin typeface="Open Sans Light"/>
              </a:rPr>
              <a:t>D</a:t>
            </a:r>
          </a:p>
        </p:txBody>
      </p:sp>
      <p:sp>
        <p:nvSpPr>
          <p:cNvPr id="19" name="Flowchart: Manual Operation 18">
            <a:extLst>
              <a:ext uri="{FF2B5EF4-FFF2-40B4-BE49-F238E27FC236}">
                <a16:creationId xmlns:a16="http://schemas.microsoft.com/office/drawing/2014/main" id="{8E73BFF8-7489-41C3-9A24-08F02C48F259}"/>
              </a:ext>
            </a:extLst>
          </p:cNvPr>
          <p:cNvSpPr/>
          <p:nvPr/>
        </p:nvSpPr>
        <p:spPr>
          <a:xfrm>
            <a:off x="18451698" y="8282338"/>
            <a:ext cx="2263712" cy="1896428"/>
          </a:xfrm>
          <a:prstGeom prst="flowChartManualOperation">
            <a:avLst/>
          </a:prstGeom>
          <a:solidFill>
            <a:schemeClr val="accent1">
              <a:lumMod val="50000"/>
            </a:schemeClr>
          </a:solidFill>
          <a:ln w="28575">
            <a:solidFill>
              <a:schemeClr val="bg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latin typeface="Open Sans Light"/>
              </a:rPr>
              <a:t>Bucket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E9629C6F-8876-D2B1-CF3A-3617ADF85F49}"/>
              </a:ext>
            </a:extLst>
          </p:cNvPr>
          <p:cNvGrpSpPr/>
          <p:nvPr/>
        </p:nvGrpSpPr>
        <p:grpSpPr>
          <a:xfrm>
            <a:off x="17148561" y="3572749"/>
            <a:ext cx="3382188" cy="1849726"/>
            <a:chOff x="8574280" y="1786374"/>
            <a:chExt cx="1691094" cy="924863"/>
          </a:xfrm>
        </p:grpSpPr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D1D5C578-1524-C1FA-0517-0DC09E314D67}"/>
                </a:ext>
              </a:extLst>
            </p:cNvPr>
            <p:cNvSpPr txBox="1"/>
            <p:nvPr/>
          </p:nvSpPr>
          <p:spPr>
            <a:xfrm>
              <a:off x="9099029" y="1786374"/>
              <a:ext cx="1166345" cy="261610"/>
            </a:xfrm>
            <a:prstGeom prst="rect">
              <a:avLst/>
            </a:prstGeom>
          </p:spPr>
          <p:txBody>
            <a:bodyPr wrap="none" rtlCol="0">
              <a:spAutoFit/>
            </a:bodyPr>
            <a:lstStyle/>
            <a:p>
              <a:pPr algn="l"/>
              <a:r>
                <a:rPr lang="en-US" sz="2800" b="1" dirty="0">
                  <a:solidFill>
                    <a:schemeClr val="accent3">
                      <a:lumMod val="75000"/>
                    </a:schemeClr>
                  </a:solidFill>
                  <a:latin typeface="Courier New" panose="02070309020205020404" pitchFamily="49" charset="0"/>
                  <a:cs typeface="Courier New" panose="02070309020205020404" pitchFamily="49" charset="0"/>
                </a:rPr>
                <a:t>legal-hold</a:t>
              </a:r>
            </a:p>
          </p:txBody>
        </p: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DC606B91-425F-E727-BB87-F33F8B69B32A}"/>
                </a:ext>
              </a:extLst>
            </p:cNvPr>
            <p:cNvCxnSpPr>
              <a:cxnSpLocks/>
              <a:stCxn id="22" idx="1"/>
              <a:endCxn id="6" idx="5"/>
            </p:cNvCxnSpPr>
            <p:nvPr/>
          </p:nvCxnSpPr>
          <p:spPr>
            <a:xfrm flipH="1">
              <a:off x="8574280" y="1917179"/>
              <a:ext cx="524749" cy="388596"/>
            </a:xfrm>
            <a:prstGeom prst="line">
              <a:avLst/>
            </a:prstGeom>
            <a:ln w="12700"/>
          </p:spPr>
          <p:style>
            <a:lnRef idx="2">
              <a:schemeClr val="accent3"/>
            </a:lnRef>
            <a:fillRef idx="0">
              <a:schemeClr val="accent3"/>
            </a:fillRef>
            <a:effectRef idx="1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31D5739B-822C-0E58-498F-64752262DC4E}"/>
                </a:ext>
              </a:extLst>
            </p:cNvPr>
            <p:cNvCxnSpPr>
              <a:cxnSpLocks/>
              <a:stCxn id="22" idx="1"/>
              <a:endCxn id="3" idx="5"/>
            </p:cNvCxnSpPr>
            <p:nvPr/>
          </p:nvCxnSpPr>
          <p:spPr>
            <a:xfrm flipH="1">
              <a:off x="8700763" y="1917179"/>
              <a:ext cx="398267" cy="794058"/>
            </a:xfrm>
            <a:prstGeom prst="line">
              <a:avLst/>
            </a:prstGeom>
            <a:ln w="12700"/>
          </p:spPr>
          <p:style>
            <a:lnRef idx="2">
              <a:schemeClr val="accent3"/>
            </a:lnRef>
            <a:fillRef idx="0">
              <a:schemeClr val="accent3"/>
            </a:fillRef>
            <a:effectRef idx="1">
              <a:schemeClr val="accent3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071285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3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29" dur="10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32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3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35" dur="1000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38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3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41" dur="1000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1000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/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44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3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47" dur="1000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1000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0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50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2" presetID="3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53" dur="1000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1000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1000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56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8" presetID="3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59" dur="1000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1000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1000"/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62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4" presetID="3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65" dur="10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10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10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68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0" fill="hold">
                      <p:stCondLst>
                        <p:cond delay="indefinite"/>
                      </p:stCondLst>
                      <p:childTnLst>
                        <p:par>
                          <p:cTn id="71" fill="hold">
                            <p:stCondLst>
                              <p:cond delay="0"/>
                            </p:stCondLst>
                            <p:childTnLst>
                              <p:par>
                                <p:cTn id="72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4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0" grpId="1" animBg="1"/>
      <p:bldP spid="13" grpId="0" animBg="1"/>
      <p:bldP spid="13" grpId="1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  <p:bldP spid="17" grpId="0" animBg="1"/>
      <p:bldP spid="17" grpId="1" animBg="1"/>
      <p:bldP spid="18" grpId="0" animBg="1"/>
      <p:bldP spid="18" grpId="1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3659D72-294F-4FBD-A07E-2186A0CA589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147940" y="1020597"/>
            <a:ext cx="21613207" cy="991426"/>
          </a:xfrm>
        </p:spPr>
        <p:txBody>
          <a:bodyPr/>
          <a:lstStyle/>
          <a:p>
            <a:r>
              <a:rPr lang="en-US" dirty="0">
                <a:solidFill>
                  <a:schemeClr val="bg2"/>
                </a:solidFill>
                <a:latin typeface="+mj-lt"/>
              </a:rPr>
              <a:t>QuantaStor + Seagate All-Flash Scale-up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BFC11FD-8109-4A9C-8FB3-BA727180A0E1}"/>
              </a:ext>
            </a:extLst>
          </p:cNvPr>
          <p:cNvSpPr/>
          <p:nvPr/>
        </p:nvSpPr>
        <p:spPr>
          <a:xfrm>
            <a:off x="7499206" y="2016501"/>
            <a:ext cx="13738860" cy="112618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1828800">
              <a:lnSpc>
                <a:spcPct val="120000"/>
              </a:lnSpc>
              <a:spcBef>
                <a:spcPts val="1200"/>
              </a:spcBef>
            </a:pPr>
            <a:r>
              <a:rPr lang="en-US" sz="3600" b="1" dirty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All-Flash Performance</a:t>
            </a:r>
          </a:p>
          <a:p>
            <a:pPr marL="1028700" lvl="1" indent="-571500" defTabSz="1828800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~250K IOPS per pool, ~500K IOPs per cluster</a:t>
            </a:r>
          </a:p>
          <a:p>
            <a:pPr defTabSz="1828800">
              <a:lnSpc>
                <a:spcPct val="120000"/>
              </a:lnSpc>
              <a:spcBef>
                <a:spcPts val="1200"/>
              </a:spcBef>
            </a:pPr>
            <a:r>
              <a:rPr lang="en-US" sz="3600" b="1" dirty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Use Cases</a:t>
            </a:r>
          </a:p>
          <a:p>
            <a:pPr marL="1028700" lvl="1" indent="-571500" defTabSz="1828800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VDI / Virtual Desktop Storage</a:t>
            </a:r>
          </a:p>
          <a:p>
            <a:pPr marL="1028700" lvl="1" indent="-571500" defTabSz="1828800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Server Virtualization Storage (VMware </a:t>
            </a:r>
            <a:r>
              <a:rPr lang="en-US" sz="3600" dirty="0" err="1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ESXi</a:t>
            </a:r>
            <a:r>
              <a:rPr lang="en-US" sz="3600" dirty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, </a:t>
            </a:r>
            <a:r>
              <a:rPr lang="en-US" sz="3600" dirty="0" err="1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HyperV</a:t>
            </a:r>
            <a:r>
              <a:rPr lang="en-US" sz="3600" dirty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, KVM)</a:t>
            </a:r>
          </a:p>
          <a:p>
            <a:pPr marL="1028700" lvl="1" indent="-571500" defTabSz="1828800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Databases / OLTP</a:t>
            </a:r>
          </a:p>
          <a:p>
            <a:pPr defTabSz="1828800">
              <a:lnSpc>
                <a:spcPct val="120000"/>
              </a:lnSpc>
              <a:spcBef>
                <a:spcPts val="1200"/>
              </a:spcBef>
            </a:pPr>
            <a:r>
              <a:rPr lang="en-US" sz="3600" b="1" dirty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Key Features</a:t>
            </a:r>
          </a:p>
          <a:p>
            <a:pPr marL="1028700" lvl="1" indent="-571500" defTabSz="1828800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iSCSI + NFS + SMB</a:t>
            </a:r>
          </a:p>
          <a:p>
            <a:pPr marL="1028700" lvl="1" indent="-571500" defTabSz="1828800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End-to-End Encryption</a:t>
            </a:r>
          </a:p>
          <a:p>
            <a:pPr marL="1028700" lvl="1" indent="-571500" defTabSz="1828800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KMIP Key Management</a:t>
            </a:r>
          </a:p>
          <a:p>
            <a:pPr marL="1028700" lvl="1" indent="-571500" defTabSz="1828800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MFA and 2FA</a:t>
            </a:r>
          </a:p>
          <a:p>
            <a:pPr marL="1028700" lvl="1" indent="-571500" defTabSz="1828800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Advanced Role-based Access Controls (RBAC)</a:t>
            </a:r>
          </a:p>
          <a:p>
            <a:pPr marL="1028700" lvl="1" indent="-571500" defTabSz="1828800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LDAP/Active Directory Integration w/ single-sign-on</a:t>
            </a:r>
          </a:p>
          <a:p>
            <a:pPr marL="1028700" lvl="1" indent="-571500" defTabSz="1828800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FIPS 140-2 L1 Certified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2D11267-3C19-42A3-9369-4097680805C0}"/>
              </a:ext>
            </a:extLst>
          </p:cNvPr>
          <p:cNvSpPr txBox="1"/>
          <p:nvPr/>
        </p:nvSpPr>
        <p:spPr>
          <a:xfrm>
            <a:off x="2147941" y="6539438"/>
            <a:ext cx="3870640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828800"/>
            <a:r>
              <a:rPr lang="en-US" sz="2200" b="1" dirty="0">
                <a:solidFill>
                  <a:srgbClr val="FFFFFF"/>
                </a:solidFill>
                <a:latin typeface="Arial" panose="020B0604020202020204"/>
                <a:cs typeface="Arial" panose="020B0604020202020204" pitchFamily="34" charset="0"/>
              </a:rPr>
              <a:t>All-Flash Performance</a:t>
            </a:r>
          </a:p>
          <a:p>
            <a:pPr algn="ctr" defTabSz="1828800"/>
            <a:r>
              <a:rPr lang="en-US" sz="2200" b="1" dirty="0">
                <a:solidFill>
                  <a:srgbClr val="FFFFFF"/>
                </a:solidFill>
                <a:latin typeface="Arial" panose="020B0604020202020204"/>
                <a:cs typeface="Arial" panose="020B0604020202020204" pitchFamily="34" charset="0"/>
              </a:rPr>
              <a:t>NAS/SAN Cluster</a:t>
            </a:r>
          </a:p>
          <a:p>
            <a:pPr algn="ctr" defTabSz="1828800"/>
            <a:r>
              <a:rPr lang="en-US" sz="2200" b="1" dirty="0">
                <a:solidFill>
                  <a:srgbClr val="FFFFFF"/>
                </a:solidFill>
                <a:latin typeface="Arial" panose="020B0604020202020204"/>
                <a:cs typeface="Arial" panose="020B0604020202020204" pitchFamily="34" charset="0"/>
              </a:rPr>
              <a:t>500K IOP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6D665E0-6199-7D16-5F2D-B8409D9E04B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47941" y="5779225"/>
            <a:ext cx="3809524" cy="68571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8199DED-9CA7-CA13-5DA3-0B11150C10C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47941" y="5122422"/>
            <a:ext cx="3810196" cy="685836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F670039F-58ED-64A2-CD21-1861F449C25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47269" y="2743203"/>
            <a:ext cx="3810196" cy="685836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00910AF2-E25A-1624-8F33-349992D2A55A}"/>
              </a:ext>
            </a:extLst>
          </p:cNvPr>
          <p:cNvSpPr txBox="1"/>
          <p:nvPr/>
        </p:nvSpPr>
        <p:spPr>
          <a:xfrm>
            <a:off x="2147269" y="3441462"/>
            <a:ext cx="3870640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828800"/>
            <a:r>
              <a:rPr lang="en-US" sz="2200" b="1" dirty="0">
                <a:solidFill>
                  <a:srgbClr val="FFFFFF"/>
                </a:solidFill>
                <a:latin typeface="Arial" panose="020B0604020202020204"/>
                <a:cs typeface="Arial" panose="020B0604020202020204" pitchFamily="34" charset="0"/>
              </a:rPr>
              <a:t>All-Flash Performance</a:t>
            </a:r>
          </a:p>
          <a:p>
            <a:pPr algn="ctr" defTabSz="1828800"/>
            <a:r>
              <a:rPr lang="en-US" sz="2200" b="1" dirty="0">
                <a:solidFill>
                  <a:srgbClr val="FFFFFF"/>
                </a:solidFill>
                <a:latin typeface="Arial" panose="020B0604020202020204"/>
                <a:cs typeface="Arial" panose="020B0604020202020204" pitchFamily="34" charset="0"/>
              </a:rPr>
              <a:t>NAS/SAN Cluster</a:t>
            </a:r>
          </a:p>
          <a:p>
            <a:pPr algn="ctr" defTabSz="1828800"/>
            <a:r>
              <a:rPr lang="en-US" sz="2200" b="1" dirty="0">
                <a:solidFill>
                  <a:srgbClr val="FFFFFF"/>
                </a:solidFill>
                <a:latin typeface="Arial" panose="020B0604020202020204"/>
                <a:cs typeface="Arial" panose="020B0604020202020204" pitchFamily="34" charset="0"/>
              </a:rPr>
              <a:t>250K IOPS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388484D0-6149-791C-C03C-B6692D1A8632}"/>
              </a:ext>
            </a:extLst>
          </p:cNvPr>
          <p:cNvGrpSpPr/>
          <p:nvPr/>
        </p:nvGrpSpPr>
        <p:grpSpPr>
          <a:xfrm>
            <a:off x="16702923" y="12493172"/>
            <a:ext cx="6625077" cy="1069910"/>
            <a:chOff x="16702923" y="12493172"/>
            <a:chExt cx="6625077" cy="1069910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8C0ADD5-6293-0B6A-1328-31478E78843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6702923" y="12493172"/>
              <a:ext cx="3864456" cy="1069910"/>
            </a:xfrm>
            <a:prstGeom prst="rect">
              <a:avLst/>
            </a:prstGeom>
          </p:spPr>
        </p:pic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C065859F-9607-20AC-233D-35763A9F43B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21104152" y="12826874"/>
              <a:ext cx="2223848" cy="39283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6225012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3659D72-294F-4FBD-A07E-2186A0CA589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147941" y="1020597"/>
            <a:ext cx="19335750" cy="933450"/>
          </a:xfrm>
        </p:spPr>
        <p:txBody>
          <a:bodyPr/>
          <a:lstStyle/>
          <a:p>
            <a:r>
              <a:rPr lang="en-US" dirty="0">
                <a:solidFill>
                  <a:schemeClr val="bg2"/>
                </a:solidFill>
                <a:latin typeface="+mj-lt"/>
              </a:rPr>
              <a:t>QuantaStor + Seagate Hybrid Scale-up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1694B36-0F53-4F89-8CF8-8B0BCBDCB555}"/>
              </a:ext>
            </a:extLst>
          </p:cNvPr>
          <p:cNvSpPr txBox="1"/>
          <p:nvPr/>
        </p:nvSpPr>
        <p:spPr>
          <a:xfrm>
            <a:off x="2147940" y="11553238"/>
            <a:ext cx="387064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828800"/>
            <a:r>
              <a:rPr lang="en-US" sz="2200" b="1" dirty="0">
                <a:solidFill>
                  <a:srgbClr val="FFFFFF"/>
                </a:solidFill>
                <a:latin typeface="Arial" panose="020B0604020202020204"/>
                <a:cs typeface="Arial" panose="020B0604020202020204" pitchFamily="34" charset="0"/>
              </a:rPr>
              <a:t>Hybrid Performance</a:t>
            </a:r>
          </a:p>
          <a:p>
            <a:pPr algn="ctr" defTabSz="1828800"/>
            <a:r>
              <a:rPr lang="en-US" sz="2200" b="1" dirty="0">
                <a:solidFill>
                  <a:srgbClr val="FFFFFF"/>
                </a:solidFill>
                <a:latin typeface="Arial" panose="020B0604020202020204"/>
                <a:cs typeface="Arial" panose="020B0604020202020204" pitchFamily="34" charset="0"/>
              </a:rPr>
              <a:t>NAS/SAN Clust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CADCEB6-DCCB-4977-7627-B114BD60C9E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08382" y="2902925"/>
            <a:ext cx="3810196" cy="1701888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DC3E26BA-B7FC-A098-8E72-3FB04BD880F4}"/>
              </a:ext>
            </a:extLst>
          </p:cNvPr>
          <p:cNvSpPr txBox="1"/>
          <p:nvPr/>
        </p:nvSpPr>
        <p:spPr>
          <a:xfrm>
            <a:off x="2178160" y="4626072"/>
            <a:ext cx="387064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828800"/>
            <a:r>
              <a:rPr lang="en-US" sz="2200" b="1" dirty="0">
                <a:solidFill>
                  <a:srgbClr val="FFFFFF"/>
                </a:solidFill>
                <a:latin typeface="Arial" panose="020B0604020202020204"/>
                <a:cs typeface="Arial" panose="020B0604020202020204" pitchFamily="34" charset="0"/>
              </a:rPr>
              <a:t>Hybrid Performance</a:t>
            </a:r>
          </a:p>
          <a:p>
            <a:pPr algn="ctr" defTabSz="1828800"/>
            <a:r>
              <a:rPr lang="en-US" sz="2200" b="1" dirty="0">
                <a:solidFill>
                  <a:srgbClr val="FFFFFF"/>
                </a:solidFill>
                <a:latin typeface="Arial" panose="020B0604020202020204"/>
                <a:cs typeface="Arial" panose="020B0604020202020204" pitchFamily="34" charset="0"/>
              </a:rPr>
              <a:t>NAS/SAN Cluster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BC088E7-A63D-BFF0-B098-4B34A7DAC221}"/>
              </a:ext>
            </a:extLst>
          </p:cNvPr>
          <p:cNvSpPr/>
          <p:nvPr/>
        </p:nvSpPr>
        <p:spPr>
          <a:xfrm>
            <a:off x="7887467" y="2512376"/>
            <a:ext cx="13738860" cy="10443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1828800">
              <a:lnSpc>
                <a:spcPct val="120000"/>
              </a:lnSpc>
              <a:spcBef>
                <a:spcPts val="1200"/>
              </a:spcBef>
            </a:pPr>
            <a:r>
              <a:rPr lang="en-US" sz="3600" b="1" dirty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Hybrid Performance</a:t>
            </a:r>
          </a:p>
          <a:p>
            <a:pPr marL="1028700" lvl="1" indent="-571500" defTabSz="1828800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~4GB/sec per pool, 8GB/sec per cluster</a:t>
            </a:r>
          </a:p>
          <a:p>
            <a:pPr marL="1028700" lvl="1" indent="-571500" defTabSz="1828800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Small file &amp; Meta-data Offload to All-Flash Storage Tier</a:t>
            </a:r>
          </a:p>
          <a:p>
            <a:pPr defTabSz="1828800">
              <a:lnSpc>
                <a:spcPct val="120000"/>
              </a:lnSpc>
              <a:spcBef>
                <a:spcPts val="1200"/>
              </a:spcBef>
            </a:pPr>
            <a:r>
              <a:rPr lang="en-US" sz="3600" b="1" dirty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Common Use Cases</a:t>
            </a:r>
          </a:p>
          <a:p>
            <a:pPr marL="1028700" lvl="1" indent="-571500" defTabSz="1828800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Backup (Veeam, Commvault, Veritas, Rubric,  </a:t>
            </a:r>
            <a:r>
              <a:rPr lang="en-US" sz="3600" dirty="0" err="1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etc</a:t>
            </a:r>
            <a:r>
              <a:rPr lang="en-US" sz="3600" dirty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)</a:t>
            </a:r>
          </a:p>
          <a:p>
            <a:pPr marL="1028700" lvl="1" indent="-571500" defTabSz="1828800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Archive / Data Warehousing / Logging</a:t>
            </a:r>
          </a:p>
          <a:p>
            <a:pPr marL="1028700" lvl="1" indent="-571500" defTabSz="1828800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CCTV / Streaming Video</a:t>
            </a:r>
          </a:p>
          <a:p>
            <a:pPr marL="1028700" lvl="1" indent="-571500" defTabSz="1828800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Media Editing, Media Asset Management</a:t>
            </a:r>
          </a:p>
          <a:p>
            <a:pPr marL="1028700" lvl="1" indent="-571500" defTabSz="1828800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User Home Directories</a:t>
            </a:r>
          </a:p>
          <a:p>
            <a:pPr defTabSz="1828800">
              <a:lnSpc>
                <a:spcPct val="120000"/>
              </a:lnSpc>
              <a:spcBef>
                <a:spcPts val="1200"/>
              </a:spcBef>
            </a:pPr>
            <a:r>
              <a:rPr lang="en-US" sz="3600" b="1" dirty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Key Features</a:t>
            </a:r>
          </a:p>
          <a:p>
            <a:pPr marL="1028700" lvl="1" indent="-571500" defTabSz="1828800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iSCSI + NFS + SMB</a:t>
            </a:r>
          </a:p>
          <a:p>
            <a:pPr marL="1028700" lvl="1" indent="-571500" defTabSz="1828800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Immutability / WORM Support</a:t>
            </a:r>
          </a:p>
          <a:p>
            <a:pPr marL="1028700" lvl="1" indent="-571500" defTabSz="1828800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Immutable Snapshots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D1C5BFDD-794C-438F-FA10-6A2615CADEE6}"/>
              </a:ext>
            </a:extLst>
          </p:cNvPr>
          <p:cNvGrpSpPr/>
          <p:nvPr/>
        </p:nvGrpSpPr>
        <p:grpSpPr>
          <a:xfrm>
            <a:off x="2208382" y="7261580"/>
            <a:ext cx="3810195" cy="4070202"/>
            <a:chOff x="3483751" y="4177636"/>
            <a:chExt cx="2161352" cy="2308842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F55FB0A5-82D8-BF85-56E6-2433DD6E68A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83751" y="4177636"/>
              <a:ext cx="2148514" cy="386734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4F06BDDD-FD23-2858-E71E-E7DD367B511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96589" y="4564370"/>
              <a:ext cx="2135676" cy="961054"/>
            </a:xfrm>
            <a:prstGeom prst="rect">
              <a:avLst/>
            </a:prstGeom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A2387988-BCA0-5223-4170-BC2D3EC9C9A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09427" y="5525424"/>
              <a:ext cx="2135676" cy="961054"/>
            </a:xfrm>
            <a:prstGeom prst="rect">
              <a:avLst/>
            </a:prstGeom>
          </p:spPr>
        </p:pic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672D663-8599-DBB7-F0E2-5C55FA2E9C74}"/>
              </a:ext>
            </a:extLst>
          </p:cNvPr>
          <p:cNvGrpSpPr/>
          <p:nvPr/>
        </p:nvGrpSpPr>
        <p:grpSpPr>
          <a:xfrm>
            <a:off x="16702923" y="12493172"/>
            <a:ext cx="6625077" cy="1069910"/>
            <a:chOff x="16702923" y="12493172"/>
            <a:chExt cx="6625077" cy="1069910"/>
          </a:xfrm>
        </p:grpSpPr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80829913-3FA9-DDEF-FFEA-84D5BBCBE16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6702923" y="12493172"/>
              <a:ext cx="3864456" cy="1069910"/>
            </a:xfrm>
            <a:prstGeom prst="rect">
              <a:avLst/>
            </a:prstGeom>
          </p:spPr>
        </p:pic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D409FED0-8748-8D75-6404-2A92D4F0D41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1104152" y="12826874"/>
              <a:ext cx="2223848" cy="39283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8476206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Box 20">
            <a:extLst>
              <a:ext uri="{FF2B5EF4-FFF2-40B4-BE49-F238E27FC236}">
                <a16:creationId xmlns:a16="http://schemas.microsoft.com/office/drawing/2014/main" id="{E2F4B55C-9945-4445-A743-1550BC7B0DB7}"/>
              </a:ext>
            </a:extLst>
          </p:cNvPr>
          <p:cNvSpPr txBox="1"/>
          <p:nvPr/>
        </p:nvSpPr>
        <p:spPr>
          <a:xfrm>
            <a:off x="1435651" y="2799893"/>
            <a:ext cx="835904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828800"/>
            <a:r>
              <a:rPr lang="en-US" sz="2800" b="1" dirty="0">
                <a:solidFill>
                  <a:srgbClr val="FFFFFF"/>
                </a:solidFill>
                <a:latin typeface="Arial" panose="020B0604020202020204"/>
                <a:cs typeface="Arial" panose="020B0604020202020204" pitchFamily="34" charset="0"/>
              </a:rPr>
              <a:t>Seagate + QuantaStor Scale-out</a:t>
            </a:r>
            <a:br>
              <a:rPr lang="en-US" sz="2800" b="1" dirty="0">
                <a:solidFill>
                  <a:srgbClr val="FFFFFF"/>
                </a:solidFill>
                <a:latin typeface="Arial" panose="020B0604020202020204"/>
                <a:cs typeface="Arial" panose="020B0604020202020204" pitchFamily="34" charset="0"/>
              </a:rPr>
            </a:br>
            <a:r>
              <a:rPr lang="en-US" sz="2800" b="1" dirty="0">
                <a:solidFill>
                  <a:srgbClr val="FFFFFF"/>
                </a:solidFill>
                <a:latin typeface="Arial" panose="020B0604020202020204"/>
                <a:cs typeface="Arial" panose="020B0604020202020204" pitchFamily="34" charset="0"/>
              </a:rPr>
              <a:t>File, Block &amp; Object</a:t>
            </a: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DA204B01-BF9A-E8F3-D1A4-0C18D87E328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78878" y="4252014"/>
            <a:ext cx="2133942" cy="953162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12CA08A9-1385-B75D-594D-58BAAC88730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78878" y="5205174"/>
            <a:ext cx="2133942" cy="953162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AFB11535-ED3E-797C-3AE5-EFA7E5A126A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74648" y="6153148"/>
            <a:ext cx="2133942" cy="953162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0977797A-FB15-DA2A-0ACD-7FAAE4D95BE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74648" y="7106308"/>
            <a:ext cx="2133942" cy="953162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C905348C-33D5-3A3E-4D2D-F108400C3FD8}"/>
              </a:ext>
            </a:extLst>
          </p:cNvPr>
          <p:cNvSpPr/>
          <p:nvPr/>
        </p:nvSpPr>
        <p:spPr>
          <a:xfrm>
            <a:off x="10504592" y="2965695"/>
            <a:ext cx="12107580" cy="92343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1828800">
              <a:lnSpc>
                <a:spcPct val="120000"/>
              </a:lnSpc>
              <a:spcBef>
                <a:spcPts val="1200"/>
              </a:spcBef>
            </a:pPr>
            <a:r>
              <a:rPr lang="en-US" sz="3600" b="1" dirty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All-Flash Performance	</a:t>
            </a:r>
          </a:p>
          <a:p>
            <a:pPr marL="1028700" lvl="2" indent="-571500" defTabSz="1828800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~300MB/sec per SSD added to cluster  (</a:t>
            </a:r>
            <a:r>
              <a:rPr lang="en-US" sz="3600" dirty="0" err="1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eg.</a:t>
            </a:r>
            <a:r>
              <a:rPr lang="en-US" sz="3600" dirty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 60GB/sec for 200x SSD cluster)</a:t>
            </a:r>
          </a:p>
          <a:p>
            <a:pPr defTabSz="1828800">
              <a:lnSpc>
                <a:spcPct val="120000"/>
              </a:lnSpc>
              <a:spcBef>
                <a:spcPts val="1200"/>
              </a:spcBef>
            </a:pPr>
            <a:r>
              <a:rPr lang="en-US" sz="3600" b="1" dirty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Hybrid Performance</a:t>
            </a:r>
          </a:p>
          <a:p>
            <a:pPr marL="1028700" lvl="2" indent="-571500" defTabSz="1828800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~60MB/sec per HDD added to cluster (</a:t>
            </a:r>
            <a:r>
              <a:rPr lang="en-US" sz="3600" dirty="0" err="1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eg.</a:t>
            </a:r>
            <a:r>
              <a:rPr lang="en-US" sz="3600" dirty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 12GB/sec for 200x HDD cluster)</a:t>
            </a:r>
          </a:p>
          <a:p>
            <a:pPr defTabSz="1828800">
              <a:lnSpc>
                <a:spcPct val="120000"/>
              </a:lnSpc>
              <a:spcBef>
                <a:spcPts val="1200"/>
              </a:spcBef>
            </a:pPr>
            <a:r>
              <a:rPr lang="en-US" sz="3600" b="1" dirty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Use Cases</a:t>
            </a:r>
          </a:p>
          <a:p>
            <a:pPr marL="1028700" lvl="1" indent="-571500" defTabSz="1828800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Content Delivery Networks</a:t>
            </a:r>
          </a:p>
          <a:p>
            <a:pPr marL="1028700" lvl="1" indent="-571500" defTabSz="1828800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Media Archive / Media Asset Management</a:t>
            </a:r>
          </a:p>
          <a:p>
            <a:pPr marL="1028700" lvl="1" indent="-571500" defTabSz="1828800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PACS / DICOM Images</a:t>
            </a:r>
          </a:p>
          <a:p>
            <a:pPr marL="1028700" lvl="1" indent="-571500" defTabSz="1828800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rgbClr val="FFFFFF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AI/ML HPC Filesystem</a:t>
            </a:r>
          </a:p>
          <a:p>
            <a:pPr lvl="1" defTabSz="1828800">
              <a:lnSpc>
                <a:spcPct val="120000"/>
              </a:lnSpc>
              <a:spcBef>
                <a:spcPts val="1200"/>
              </a:spcBef>
            </a:pPr>
            <a:endParaRPr lang="en-US" sz="3200" dirty="0">
              <a:solidFill>
                <a:srgbClr val="FFFFFF"/>
              </a:solidFill>
              <a:latin typeface="Arial" panose="020B0604020202020204"/>
              <a:ea typeface="Source Sans Pro" panose="020B0503030403020204" pitchFamily="34" charset="0"/>
            </a:endParaRP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4A3160F8-6FEC-D4FF-9C87-83FBA481BADD}"/>
              </a:ext>
            </a:extLst>
          </p:cNvPr>
          <p:cNvSpPr txBox="1">
            <a:spLocks/>
          </p:cNvSpPr>
          <p:nvPr/>
        </p:nvSpPr>
        <p:spPr>
          <a:xfrm>
            <a:off x="1267406" y="1029803"/>
            <a:ext cx="22069671" cy="93345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543505" rtl="0" eaLnBrk="1" latinLnBrk="0" hangingPunct="1">
              <a:lnSpc>
                <a:spcPct val="70000"/>
              </a:lnSpc>
              <a:spcBef>
                <a:spcPct val="20000"/>
              </a:spcBef>
              <a:buFont typeface="Arial"/>
              <a:buNone/>
              <a:defRPr sz="3300" b="1" kern="1200">
                <a:solidFill>
                  <a:srgbClr val="93BF2C"/>
                </a:solidFill>
                <a:latin typeface="Montserrat" panose="00000500000000000000" pitchFamily="2" charset="0"/>
                <a:ea typeface="Source Sans Pro" panose="020B0503030403020204" pitchFamily="34" charset="0"/>
                <a:cs typeface="Open Sans Light"/>
              </a:defRPr>
            </a:lvl1pPr>
            <a:lvl2pPr marL="543505" indent="0" algn="ctr" defTabSz="543505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549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2pPr>
            <a:lvl3pPr marL="1087009" indent="0" algn="ctr" defTabSz="543505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549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3pPr>
            <a:lvl4pPr marL="1630517" indent="0" algn="ctr" defTabSz="543505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549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4pPr>
            <a:lvl5pPr marL="2174020" indent="0" algn="ctr" defTabSz="543505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1549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5pPr>
            <a:lvl6pPr marL="2989277" indent="-271753" algn="l" defTabSz="543505" rtl="0" eaLnBrk="1" latinLnBrk="0" hangingPunct="1">
              <a:spcBef>
                <a:spcPct val="20000"/>
              </a:spcBef>
              <a:buFont typeface="Arial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2783" indent="-271753" algn="l" defTabSz="543505" rtl="0" eaLnBrk="1" latinLnBrk="0" hangingPunct="1">
              <a:spcBef>
                <a:spcPct val="20000"/>
              </a:spcBef>
              <a:buFont typeface="Arial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76289" indent="-271753" algn="l" defTabSz="543505" rtl="0" eaLnBrk="1" latinLnBrk="0" hangingPunct="1">
              <a:spcBef>
                <a:spcPct val="20000"/>
              </a:spcBef>
              <a:buFont typeface="Arial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19794" indent="-271753" algn="l" defTabSz="543505" rtl="0" eaLnBrk="1" latinLnBrk="0" hangingPunct="1">
              <a:spcBef>
                <a:spcPct val="20000"/>
              </a:spcBef>
              <a:buFont typeface="Arial"/>
              <a:buChar char="•"/>
              <a:defRPr sz="2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87010"/>
            <a:r>
              <a:rPr lang="en-US" sz="6600" dirty="0">
                <a:solidFill>
                  <a:srgbClr val="6EBE49"/>
                </a:solidFill>
                <a:latin typeface="Arial" panose="020B0604020202020204"/>
              </a:rPr>
              <a:t>QuantaStor + Seagate Hybrid Scale-out Solutions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6E7A25D8-2D11-1E9A-E098-65FF610ACF0B}"/>
              </a:ext>
            </a:extLst>
          </p:cNvPr>
          <p:cNvGrpSpPr/>
          <p:nvPr/>
        </p:nvGrpSpPr>
        <p:grpSpPr>
          <a:xfrm>
            <a:off x="5036780" y="4225510"/>
            <a:ext cx="2161352" cy="2308842"/>
            <a:chOff x="3483751" y="4177636"/>
            <a:chExt cx="2161352" cy="2308842"/>
          </a:xfrm>
        </p:grpSpPr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D19F17BA-CC57-57BC-03FE-9F84D922532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83751" y="4177636"/>
              <a:ext cx="2148514" cy="386734"/>
            </a:xfrm>
            <a:prstGeom prst="rect">
              <a:avLst/>
            </a:prstGeom>
          </p:spPr>
        </p:pic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F4E1C52A-2785-3173-69CB-BF539A5515C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96589" y="4564370"/>
              <a:ext cx="2135676" cy="961054"/>
            </a:xfrm>
            <a:prstGeom prst="rect">
              <a:avLst/>
            </a:prstGeom>
          </p:spPr>
        </p:pic>
        <p:pic>
          <p:nvPicPr>
            <p:cNvPr id="50" name="Picture 49">
              <a:extLst>
                <a:ext uri="{FF2B5EF4-FFF2-40B4-BE49-F238E27FC236}">
                  <a16:creationId xmlns:a16="http://schemas.microsoft.com/office/drawing/2014/main" id="{4A0C2B47-2D53-3C69-26E2-D3680234E46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09427" y="5525424"/>
              <a:ext cx="2135676" cy="961054"/>
            </a:xfrm>
            <a:prstGeom prst="rect">
              <a:avLst/>
            </a:prstGeom>
          </p:spPr>
        </p:pic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0C9231F0-6C56-D855-6556-8F67558153BC}"/>
              </a:ext>
            </a:extLst>
          </p:cNvPr>
          <p:cNvGrpSpPr/>
          <p:nvPr/>
        </p:nvGrpSpPr>
        <p:grpSpPr>
          <a:xfrm>
            <a:off x="5062456" y="6538530"/>
            <a:ext cx="2161352" cy="2308842"/>
            <a:chOff x="3483751" y="4177636"/>
            <a:chExt cx="2161352" cy="2308842"/>
          </a:xfrm>
        </p:grpSpPr>
        <p:pic>
          <p:nvPicPr>
            <p:cNvPr id="53" name="Picture 52">
              <a:extLst>
                <a:ext uri="{FF2B5EF4-FFF2-40B4-BE49-F238E27FC236}">
                  <a16:creationId xmlns:a16="http://schemas.microsoft.com/office/drawing/2014/main" id="{2FBAC996-7BE3-7CCC-07DF-F01B4742024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83751" y="4177636"/>
              <a:ext cx="2148514" cy="386734"/>
            </a:xfrm>
            <a:prstGeom prst="rect">
              <a:avLst/>
            </a:prstGeom>
          </p:spPr>
        </p:pic>
        <p:pic>
          <p:nvPicPr>
            <p:cNvPr id="54" name="Picture 53">
              <a:extLst>
                <a:ext uri="{FF2B5EF4-FFF2-40B4-BE49-F238E27FC236}">
                  <a16:creationId xmlns:a16="http://schemas.microsoft.com/office/drawing/2014/main" id="{7FF33FA6-1E82-7E6D-0D98-F460C3FBB4E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96589" y="4564370"/>
              <a:ext cx="2135676" cy="961054"/>
            </a:xfrm>
            <a:prstGeom prst="rect">
              <a:avLst/>
            </a:prstGeom>
          </p:spPr>
        </p:pic>
        <p:pic>
          <p:nvPicPr>
            <p:cNvPr id="55" name="Picture 54">
              <a:extLst>
                <a:ext uri="{FF2B5EF4-FFF2-40B4-BE49-F238E27FC236}">
                  <a16:creationId xmlns:a16="http://schemas.microsoft.com/office/drawing/2014/main" id="{0F98DB86-E629-BFD6-0B46-3BC228C9D4D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09427" y="5525424"/>
              <a:ext cx="2135676" cy="961054"/>
            </a:xfrm>
            <a:prstGeom prst="rect">
              <a:avLst/>
            </a:prstGeom>
          </p:spPr>
        </p:pic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9A316A63-FB98-2A14-1FD8-969436E4C209}"/>
              </a:ext>
            </a:extLst>
          </p:cNvPr>
          <p:cNvGrpSpPr/>
          <p:nvPr/>
        </p:nvGrpSpPr>
        <p:grpSpPr>
          <a:xfrm>
            <a:off x="5088132" y="8847372"/>
            <a:ext cx="2161352" cy="2308842"/>
            <a:chOff x="3483751" y="4177636"/>
            <a:chExt cx="2161352" cy="2308842"/>
          </a:xfrm>
        </p:grpSpPr>
        <p:pic>
          <p:nvPicPr>
            <p:cNvPr id="57" name="Picture 56">
              <a:extLst>
                <a:ext uri="{FF2B5EF4-FFF2-40B4-BE49-F238E27FC236}">
                  <a16:creationId xmlns:a16="http://schemas.microsoft.com/office/drawing/2014/main" id="{800BCE0F-22AC-C39E-D406-C2BD5E27F41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83751" y="4177636"/>
              <a:ext cx="2148514" cy="386734"/>
            </a:xfrm>
            <a:prstGeom prst="rect">
              <a:avLst/>
            </a:prstGeom>
          </p:spPr>
        </p:pic>
        <p:pic>
          <p:nvPicPr>
            <p:cNvPr id="58" name="Picture 57">
              <a:extLst>
                <a:ext uri="{FF2B5EF4-FFF2-40B4-BE49-F238E27FC236}">
                  <a16:creationId xmlns:a16="http://schemas.microsoft.com/office/drawing/2014/main" id="{89364F01-A97B-49C1-1728-64ABF23CE3F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96589" y="4564370"/>
              <a:ext cx="2135676" cy="961054"/>
            </a:xfrm>
            <a:prstGeom prst="rect">
              <a:avLst/>
            </a:prstGeom>
          </p:spPr>
        </p:pic>
        <p:pic>
          <p:nvPicPr>
            <p:cNvPr id="59" name="Picture 58">
              <a:extLst>
                <a:ext uri="{FF2B5EF4-FFF2-40B4-BE49-F238E27FC236}">
                  <a16:creationId xmlns:a16="http://schemas.microsoft.com/office/drawing/2014/main" id="{C92A58A9-CF25-6C27-AB2D-C023FF20E04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09427" y="5525424"/>
              <a:ext cx="2135676" cy="961054"/>
            </a:xfrm>
            <a:prstGeom prst="rect">
              <a:avLst/>
            </a:prstGeom>
          </p:spPr>
        </p:pic>
      </p:grpSp>
      <p:pic>
        <p:nvPicPr>
          <p:cNvPr id="60" name="Picture 59">
            <a:extLst>
              <a:ext uri="{FF2B5EF4-FFF2-40B4-BE49-F238E27FC236}">
                <a16:creationId xmlns:a16="http://schemas.microsoft.com/office/drawing/2014/main" id="{96A3BE2A-B22C-7839-C338-F8ED6A78A66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74648" y="8054282"/>
            <a:ext cx="2133942" cy="953162"/>
          </a:xfrm>
          <a:prstGeom prst="rect">
            <a:avLst/>
          </a:prstGeom>
        </p:spPr>
      </p:pic>
      <p:grpSp>
        <p:nvGrpSpPr>
          <p:cNvPr id="61" name="Group 60">
            <a:extLst>
              <a:ext uri="{FF2B5EF4-FFF2-40B4-BE49-F238E27FC236}">
                <a16:creationId xmlns:a16="http://schemas.microsoft.com/office/drawing/2014/main" id="{E0B54BA0-8ABD-E166-68C6-0137909A3C9A}"/>
              </a:ext>
            </a:extLst>
          </p:cNvPr>
          <p:cNvGrpSpPr/>
          <p:nvPr/>
        </p:nvGrpSpPr>
        <p:grpSpPr>
          <a:xfrm>
            <a:off x="7262322" y="4225510"/>
            <a:ext cx="2161352" cy="2308842"/>
            <a:chOff x="3483751" y="4177636"/>
            <a:chExt cx="2161352" cy="2308842"/>
          </a:xfrm>
        </p:grpSpPr>
        <p:pic>
          <p:nvPicPr>
            <p:cNvPr id="62" name="Picture 61">
              <a:extLst>
                <a:ext uri="{FF2B5EF4-FFF2-40B4-BE49-F238E27FC236}">
                  <a16:creationId xmlns:a16="http://schemas.microsoft.com/office/drawing/2014/main" id="{13A86E07-70AC-C8BA-27E0-E372037A253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83751" y="4177636"/>
              <a:ext cx="2148514" cy="386734"/>
            </a:xfrm>
            <a:prstGeom prst="rect">
              <a:avLst/>
            </a:prstGeom>
          </p:spPr>
        </p:pic>
        <p:pic>
          <p:nvPicPr>
            <p:cNvPr id="63" name="Picture 62">
              <a:extLst>
                <a:ext uri="{FF2B5EF4-FFF2-40B4-BE49-F238E27FC236}">
                  <a16:creationId xmlns:a16="http://schemas.microsoft.com/office/drawing/2014/main" id="{28FF7F07-1348-9139-469F-E7EC882298C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96589" y="4564370"/>
              <a:ext cx="2135676" cy="961054"/>
            </a:xfrm>
            <a:prstGeom prst="rect">
              <a:avLst/>
            </a:prstGeom>
          </p:spPr>
        </p:pic>
        <p:pic>
          <p:nvPicPr>
            <p:cNvPr id="64" name="Picture 63">
              <a:extLst>
                <a:ext uri="{FF2B5EF4-FFF2-40B4-BE49-F238E27FC236}">
                  <a16:creationId xmlns:a16="http://schemas.microsoft.com/office/drawing/2014/main" id="{CF036219-8D30-18DF-D8F5-4BF7C5699FD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09427" y="5525424"/>
              <a:ext cx="2135676" cy="961054"/>
            </a:xfrm>
            <a:prstGeom prst="rect">
              <a:avLst/>
            </a:prstGeom>
          </p:spPr>
        </p:pic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1811EB3F-6BD3-FF4B-303F-46DA90949FD8}"/>
              </a:ext>
            </a:extLst>
          </p:cNvPr>
          <p:cNvGrpSpPr/>
          <p:nvPr/>
        </p:nvGrpSpPr>
        <p:grpSpPr>
          <a:xfrm>
            <a:off x="7287998" y="6538530"/>
            <a:ext cx="2161352" cy="2308842"/>
            <a:chOff x="3483751" y="4177636"/>
            <a:chExt cx="2161352" cy="2308842"/>
          </a:xfrm>
        </p:grpSpPr>
        <p:pic>
          <p:nvPicPr>
            <p:cNvPr id="66" name="Picture 65">
              <a:extLst>
                <a:ext uri="{FF2B5EF4-FFF2-40B4-BE49-F238E27FC236}">
                  <a16:creationId xmlns:a16="http://schemas.microsoft.com/office/drawing/2014/main" id="{2A0821AF-52BB-FB69-68A4-D5CF7DC63AA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83751" y="4177636"/>
              <a:ext cx="2148514" cy="386734"/>
            </a:xfrm>
            <a:prstGeom prst="rect">
              <a:avLst/>
            </a:prstGeom>
          </p:spPr>
        </p:pic>
        <p:pic>
          <p:nvPicPr>
            <p:cNvPr id="67" name="Picture 66">
              <a:extLst>
                <a:ext uri="{FF2B5EF4-FFF2-40B4-BE49-F238E27FC236}">
                  <a16:creationId xmlns:a16="http://schemas.microsoft.com/office/drawing/2014/main" id="{DB6C84BD-6C39-B7CD-3551-6A8397B3BF6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96589" y="4564370"/>
              <a:ext cx="2135676" cy="961054"/>
            </a:xfrm>
            <a:prstGeom prst="rect">
              <a:avLst/>
            </a:prstGeom>
          </p:spPr>
        </p:pic>
        <p:pic>
          <p:nvPicPr>
            <p:cNvPr id="68" name="Picture 67">
              <a:extLst>
                <a:ext uri="{FF2B5EF4-FFF2-40B4-BE49-F238E27FC236}">
                  <a16:creationId xmlns:a16="http://schemas.microsoft.com/office/drawing/2014/main" id="{9F7ACA08-0FB8-80AB-FA42-487C2086F66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09427" y="5525424"/>
              <a:ext cx="2135676" cy="961054"/>
            </a:xfrm>
            <a:prstGeom prst="rect">
              <a:avLst/>
            </a:prstGeom>
          </p:spPr>
        </p:pic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B9B881CF-92F8-D696-3F75-EACE41107C43}"/>
              </a:ext>
            </a:extLst>
          </p:cNvPr>
          <p:cNvGrpSpPr/>
          <p:nvPr/>
        </p:nvGrpSpPr>
        <p:grpSpPr>
          <a:xfrm>
            <a:off x="7313674" y="8847372"/>
            <a:ext cx="2161352" cy="2308842"/>
            <a:chOff x="3483751" y="4177636"/>
            <a:chExt cx="2161352" cy="2308842"/>
          </a:xfrm>
        </p:grpSpPr>
        <p:pic>
          <p:nvPicPr>
            <p:cNvPr id="70" name="Picture 69">
              <a:extLst>
                <a:ext uri="{FF2B5EF4-FFF2-40B4-BE49-F238E27FC236}">
                  <a16:creationId xmlns:a16="http://schemas.microsoft.com/office/drawing/2014/main" id="{653CAEA9-05C0-7552-F784-4214A08B5CE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83751" y="4177636"/>
              <a:ext cx="2148514" cy="386734"/>
            </a:xfrm>
            <a:prstGeom prst="rect">
              <a:avLst/>
            </a:prstGeom>
          </p:spPr>
        </p:pic>
        <p:pic>
          <p:nvPicPr>
            <p:cNvPr id="71" name="Picture 70">
              <a:extLst>
                <a:ext uri="{FF2B5EF4-FFF2-40B4-BE49-F238E27FC236}">
                  <a16:creationId xmlns:a16="http://schemas.microsoft.com/office/drawing/2014/main" id="{9A69C867-9232-A26C-E3BA-49A9501E733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96589" y="4564370"/>
              <a:ext cx="2135676" cy="961054"/>
            </a:xfrm>
            <a:prstGeom prst="rect">
              <a:avLst/>
            </a:prstGeom>
          </p:spPr>
        </p:pic>
        <p:pic>
          <p:nvPicPr>
            <p:cNvPr id="72" name="Picture 71">
              <a:extLst>
                <a:ext uri="{FF2B5EF4-FFF2-40B4-BE49-F238E27FC236}">
                  <a16:creationId xmlns:a16="http://schemas.microsoft.com/office/drawing/2014/main" id="{84D39343-A8A8-FFF6-8B8B-5A19394E21A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09427" y="5525424"/>
              <a:ext cx="2135676" cy="961054"/>
            </a:xfrm>
            <a:prstGeom prst="rect">
              <a:avLst/>
            </a:prstGeom>
          </p:spPr>
        </p:pic>
      </p:grpSp>
      <p:sp>
        <p:nvSpPr>
          <p:cNvPr id="74" name="TextBox 73">
            <a:extLst>
              <a:ext uri="{FF2B5EF4-FFF2-40B4-BE49-F238E27FC236}">
                <a16:creationId xmlns:a16="http://schemas.microsoft.com/office/drawing/2014/main" id="{ED10D27A-27C4-D868-0887-D6E5D211FDA7}"/>
              </a:ext>
            </a:extLst>
          </p:cNvPr>
          <p:cNvSpPr txBox="1"/>
          <p:nvPr/>
        </p:nvSpPr>
        <p:spPr>
          <a:xfrm>
            <a:off x="1435651" y="9301717"/>
            <a:ext cx="262291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828800"/>
            <a:r>
              <a:rPr lang="en-US" sz="2400" b="1" dirty="0">
                <a:solidFill>
                  <a:srgbClr val="FFFFFF"/>
                </a:solidFill>
                <a:latin typeface="Arial" panose="020B0604020202020204"/>
                <a:cs typeface="Arial" panose="020B0604020202020204" pitchFamily="34" charset="0"/>
              </a:rPr>
              <a:t>1PB to 30PB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92628397-076E-B7E3-B13D-2BABFC6FC113}"/>
              </a:ext>
            </a:extLst>
          </p:cNvPr>
          <p:cNvSpPr txBox="1"/>
          <p:nvPr/>
        </p:nvSpPr>
        <p:spPr>
          <a:xfrm>
            <a:off x="5075294" y="11500870"/>
            <a:ext cx="438689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828800"/>
            <a:r>
              <a:rPr lang="en-US" sz="2400" b="1" dirty="0">
                <a:solidFill>
                  <a:srgbClr val="FFFFFF"/>
                </a:solidFill>
                <a:latin typeface="Arial" panose="020B0604020202020204"/>
                <a:cs typeface="Arial" panose="020B0604020202020204" pitchFamily="34" charset="0"/>
              </a:rPr>
              <a:t>9PB to 100PB+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07B3F7AF-86E1-16CC-F8F7-5BBB8A9F26B6}"/>
              </a:ext>
            </a:extLst>
          </p:cNvPr>
          <p:cNvGrpSpPr/>
          <p:nvPr/>
        </p:nvGrpSpPr>
        <p:grpSpPr>
          <a:xfrm>
            <a:off x="16702923" y="12493172"/>
            <a:ext cx="6625077" cy="1069910"/>
            <a:chOff x="16702923" y="12493172"/>
            <a:chExt cx="6625077" cy="1069910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E69F54D1-4BED-707B-FC45-B9B18634DFE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6702923" y="12493172"/>
              <a:ext cx="3864456" cy="1069910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30327164-98DC-1914-4086-D144F962FA6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1104152" y="12826874"/>
              <a:ext cx="2223848" cy="39283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0785169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2E4F7E77-6C2F-20B7-2696-F928FCB609B4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72" r="9572"/>
          <a:stretch>
            <a:fillRect/>
          </a:stretch>
        </p:blipFill>
        <p:spPr>
          <a:xfrm>
            <a:off x="13755363" y="1422398"/>
            <a:ext cx="8554304" cy="10579617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E11675A6-A0F7-E97F-22D2-AC3CEEB7A5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93334" y="4998926"/>
            <a:ext cx="10244666" cy="3738674"/>
          </a:xfrm>
        </p:spPr>
        <p:txBody>
          <a:bodyPr/>
          <a:lstStyle/>
          <a:p>
            <a:r>
              <a:rPr lang="en-US" sz="6600" dirty="0"/>
              <a:t>Seagate Corvault</a:t>
            </a:r>
            <a:br>
              <a:rPr lang="en-US" sz="6600" dirty="0"/>
            </a:br>
            <a:r>
              <a:rPr lang="en-US" sz="6600" dirty="0"/>
              <a:t>Integration</a:t>
            </a:r>
          </a:p>
        </p:txBody>
      </p:sp>
    </p:spTree>
    <p:extLst>
      <p:ext uri="{BB962C8B-B14F-4D97-AF65-F5344CB8AC3E}">
        <p14:creationId xmlns:p14="http://schemas.microsoft.com/office/powerpoint/2010/main" val="15285949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" name="Group 62">
            <a:extLst>
              <a:ext uri="{FF2B5EF4-FFF2-40B4-BE49-F238E27FC236}">
                <a16:creationId xmlns:a16="http://schemas.microsoft.com/office/drawing/2014/main" id="{D41F5EDF-1A98-AF4C-ABF9-525715D3B4EA}"/>
              </a:ext>
            </a:extLst>
          </p:cNvPr>
          <p:cNvGrpSpPr/>
          <p:nvPr/>
        </p:nvGrpSpPr>
        <p:grpSpPr>
          <a:xfrm>
            <a:off x="12191998" y="8792257"/>
            <a:ext cx="5897217" cy="2352705"/>
            <a:chOff x="9822913" y="4647545"/>
            <a:chExt cx="4589742" cy="1931663"/>
          </a:xfrm>
        </p:grpSpPr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8311CE73-A944-BFD7-A481-6AA6DF524D7C}"/>
                </a:ext>
              </a:extLst>
            </p:cNvPr>
            <p:cNvSpPr txBox="1"/>
            <p:nvPr/>
          </p:nvSpPr>
          <p:spPr>
            <a:xfrm>
              <a:off x="9822913" y="4734523"/>
              <a:ext cx="4589742" cy="184468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1828800"/>
              <a:r>
                <a:rPr lang="en-US" sz="2800" b="1" dirty="0">
                  <a:solidFill>
                    <a:srgbClr val="FFFFFF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</a:rPr>
                <a:t>             Hardware Integrated</a:t>
              </a:r>
            </a:p>
            <a:p>
              <a:pPr marL="914400" indent="-914400" defTabSz="1828800"/>
              <a:r>
                <a:rPr lang="en-US" sz="2800" dirty="0">
                  <a:solidFill>
                    <a:srgbClr val="FFFFFF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</a:rPr>
                <a:t>	QuantaStor is integrated with the entire line of Seagate AP, Seagate CORVAULT, and Seagate </a:t>
              </a:r>
              <a:r>
                <a:rPr lang="en-US" sz="2800" dirty="0" err="1">
                  <a:solidFill>
                    <a:srgbClr val="FFFFFF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</a:rPr>
                <a:t>Exos</a:t>
              </a:r>
              <a:r>
                <a:rPr lang="en-US" sz="2800" dirty="0">
                  <a:solidFill>
                    <a:srgbClr val="FFFFFF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</a:rPr>
                <a:t> JBODs &amp; JBOFs.</a:t>
              </a:r>
            </a:p>
          </p:txBody>
        </p: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A9ED70CE-EF4A-7195-B3DE-A220E21893FE}"/>
                </a:ext>
              </a:extLst>
            </p:cNvPr>
            <p:cNvCxnSpPr>
              <a:cxnSpLocks/>
            </p:cNvCxnSpPr>
            <p:nvPr/>
          </p:nvCxnSpPr>
          <p:spPr>
            <a:xfrm>
              <a:off x="9822914" y="4647545"/>
              <a:ext cx="559589" cy="699014"/>
            </a:xfrm>
            <a:prstGeom prst="line">
              <a:avLst/>
            </a:prstGeom>
            <a:ln w="28575">
              <a:solidFill>
                <a:srgbClr val="92D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430C5889-2CA6-35E4-A940-16EAF4DFEDD8}"/>
              </a:ext>
            </a:extLst>
          </p:cNvPr>
          <p:cNvGrpSpPr/>
          <p:nvPr/>
        </p:nvGrpSpPr>
        <p:grpSpPr>
          <a:xfrm>
            <a:off x="13724467" y="3229294"/>
            <a:ext cx="6641386" cy="2708466"/>
            <a:chOff x="12913659" y="2861590"/>
            <a:chExt cx="5001077" cy="2138712"/>
          </a:xfrm>
        </p:grpSpPr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C3C49FD5-9DC8-9E36-BC82-AC378AAC0F3A}"/>
                </a:ext>
              </a:extLst>
            </p:cNvPr>
            <p:cNvSpPr txBox="1"/>
            <p:nvPr/>
          </p:nvSpPr>
          <p:spPr>
            <a:xfrm>
              <a:off x="13661298" y="2861590"/>
              <a:ext cx="4253438" cy="211438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1828800"/>
              <a:r>
                <a:rPr lang="en-US" sz="2800" b="1" dirty="0">
                  <a:solidFill>
                    <a:srgbClr val="FFFFFF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</a:rPr>
                <a:t>             Security</a:t>
              </a:r>
            </a:p>
            <a:p>
              <a:pPr marL="914400" indent="-914400" defTabSz="1828800"/>
              <a:r>
                <a:rPr lang="en-US" sz="2800" dirty="0">
                  <a:solidFill>
                    <a:srgbClr val="FFFFFF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</a:rPr>
                <a:t>	Advanced RBAC, end-to-end encryption support, and compliance with NIST 800-53, 800-171, HIPAA, CJIS, &amp; FIPS 140-2 L1 certified.</a:t>
              </a:r>
            </a:p>
          </p:txBody>
        </p: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1B44F717-ADC8-6F61-BF9D-7C750792D16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2913659" y="4562332"/>
              <a:ext cx="904952" cy="437970"/>
            </a:xfrm>
            <a:prstGeom prst="line">
              <a:avLst/>
            </a:prstGeom>
            <a:ln w="28575">
              <a:solidFill>
                <a:srgbClr val="92D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AB24075B-4085-12D3-0AE8-714C4B0C6D82}"/>
              </a:ext>
            </a:extLst>
          </p:cNvPr>
          <p:cNvGrpSpPr/>
          <p:nvPr/>
        </p:nvGrpSpPr>
        <p:grpSpPr>
          <a:xfrm>
            <a:off x="5218257" y="2300352"/>
            <a:ext cx="7363616" cy="3114427"/>
            <a:chOff x="6606939" y="2093260"/>
            <a:chExt cx="5544928" cy="2399776"/>
          </a:xfrm>
        </p:grpSpPr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F860879C-39A5-030A-3894-BAE0011CFCF8}"/>
                </a:ext>
              </a:extLst>
            </p:cNvPr>
            <p:cNvSpPr txBox="1"/>
            <p:nvPr/>
          </p:nvSpPr>
          <p:spPr>
            <a:xfrm>
              <a:off x="6606939" y="2093260"/>
              <a:ext cx="5544928" cy="139920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1828800"/>
              <a:r>
                <a:rPr lang="en-US" sz="2800" b="1" dirty="0">
                  <a:solidFill>
                    <a:srgbClr val="FFFFFF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</a:rPr>
                <a:t>             Storage Grid Technology</a:t>
              </a:r>
            </a:p>
            <a:p>
              <a:pPr marL="914400" indent="-914400" defTabSz="1828800"/>
              <a:r>
                <a:rPr lang="en-US" sz="2800" dirty="0">
                  <a:solidFill>
                    <a:srgbClr val="FFFFFF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</a:rPr>
                <a:t>	Grid technology unifies management of QuantaStor systems across racks, sites, and clouds.</a:t>
              </a:r>
            </a:p>
          </p:txBody>
        </p: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54FA602D-AB89-B542-5EF6-029676B65BFF}"/>
                </a:ext>
              </a:extLst>
            </p:cNvPr>
            <p:cNvCxnSpPr>
              <a:cxnSpLocks/>
            </p:cNvCxnSpPr>
            <p:nvPr/>
          </p:nvCxnSpPr>
          <p:spPr>
            <a:xfrm>
              <a:off x="9672861" y="3625728"/>
              <a:ext cx="485929" cy="867308"/>
            </a:xfrm>
            <a:prstGeom prst="line">
              <a:avLst/>
            </a:prstGeom>
            <a:ln w="28575">
              <a:solidFill>
                <a:srgbClr val="92D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944C6659-8AFB-C6BE-20D7-F650C330B8EE}"/>
              </a:ext>
            </a:extLst>
          </p:cNvPr>
          <p:cNvGrpSpPr/>
          <p:nvPr/>
        </p:nvGrpSpPr>
        <p:grpSpPr>
          <a:xfrm>
            <a:off x="399824" y="5819355"/>
            <a:ext cx="7135468" cy="1815882"/>
            <a:chOff x="2386854" y="3524778"/>
            <a:chExt cx="6173373" cy="1433892"/>
          </a:xfrm>
        </p:grpSpPr>
        <p:cxnSp>
          <p:nvCxnSpPr>
            <p:cNvPr id="73" name="Straight Connector 72">
              <a:extLst>
                <a:ext uri="{FF2B5EF4-FFF2-40B4-BE49-F238E27FC236}">
                  <a16:creationId xmlns:a16="http://schemas.microsoft.com/office/drawing/2014/main" id="{C0F96425-0F76-4B3C-FBF0-43C02D247E67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7452536" y="3944130"/>
              <a:ext cx="1107691" cy="60551"/>
            </a:xfrm>
            <a:prstGeom prst="line">
              <a:avLst/>
            </a:prstGeom>
            <a:ln w="28575">
              <a:solidFill>
                <a:srgbClr val="92D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E7004A0E-3FCE-570A-9A20-947306CBD070}"/>
                </a:ext>
              </a:extLst>
            </p:cNvPr>
            <p:cNvSpPr txBox="1"/>
            <p:nvPr/>
          </p:nvSpPr>
          <p:spPr>
            <a:xfrm>
              <a:off x="2386854" y="3524778"/>
              <a:ext cx="5475302" cy="143389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1828800"/>
              <a:r>
                <a:rPr lang="en-US" sz="2800" b="1" dirty="0">
                  <a:solidFill>
                    <a:srgbClr val="FFFFFF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</a:rPr>
                <a:t>             Unified File, Block &amp; Object</a:t>
              </a:r>
            </a:p>
            <a:p>
              <a:pPr marL="914400" indent="-914400" defTabSz="1828800"/>
              <a:r>
                <a:rPr lang="en-US" sz="2800" dirty="0">
                  <a:solidFill>
                    <a:srgbClr val="FFFFFF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</a:rPr>
                <a:t>	All major storage protocols are supported including NFS/SMB, iSCSI/FC/</a:t>
              </a:r>
              <a:r>
                <a:rPr lang="en-US" sz="2800" dirty="0" err="1">
                  <a:solidFill>
                    <a:srgbClr val="FFFFFF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</a:rPr>
                <a:t>NVMeoF</a:t>
              </a:r>
              <a:r>
                <a:rPr lang="en-US" sz="2800" dirty="0">
                  <a:solidFill>
                    <a:srgbClr val="FFFFFF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</a:rPr>
                <a:t>, and S3.</a:t>
              </a:r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00A2077B-6A03-0740-033B-8F0D0F8E62B8}"/>
              </a:ext>
            </a:extLst>
          </p:cNvPr>
          <p:cNvGrpSpPr/>
          <p:nvPr/>
        </p:nvGrpSpPr>
        <p:grpSpPr>
          <a:xfrm>
            <a:off x="2839463" y="8850128"/>
            <a:ext cx="6060602" cy="2833977"/>
            <a:chOff x="3545394" y="5342636"/>
            <a:chExt cx="4563736" cy="2237821"/>
          </a:xfrm>
        </p:grpSpPr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829431F3-1563-21CE-DB28-CCEAA1061C35}"/>
                </a:ext>
              </a:extLst>
            </p:cNvPr>
            <p:cNvSpPr/>
            <p:nvPr/>
          </p:nvSpPr>
          <p:spPr>
            <a:xfrm>
              <a:off x="3545394" y="6219474"/>
              <a:ext cx="4563736" cy="136098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defTabSz="1828800"/>
              <a:r>
                <a:rPr lang="en-US" sz="2800" b="1" dirty="0">
                  <a:solidFill>
                    <a:srgbClr val="FFFFFF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</a:rPr>
                <a:t>             Scale-up &amp; Scale-out</a:t>
              </a:r>
            </a:p>
            <a:p>
              <a:pPr marL="914400" indent="-914400" defTabSz="1828800"/>
              <a:r>
                <a:rPr lang="en-US" sz="2800" dirty="0">
                  <a:solidFill>
                    <a:srgbClr val="FFFFFF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</a:rPr>
                <a:t>	Integrated with enterprise-grade open storage technologies (Ceph &amp; ZFS).  </a:t>
              </a:r>
            </a:p>
          </p:txBody>
        </p: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B829B210-3DBE-D261-41AE-4054561232B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081434" y="5342636"/>
              <a:ext cx="684998" cy="569769"/>
            </a:xfrm>
            <a:prstGeom prst="line">
              <a:avLst/>
            </a:prstGeom>
            <a:ln w="28575">
              <a:solidFill>
                <a:srgbClr val="92D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2" name="Group 111">
            <a:extLst>
              <a:ext uri="{FF2B5EF4-FFF2-40B4-BE49-F238E27FC236}">
                <a16:creationId xmlns:a16="http://schemas.microsoft.com/office/drawing/2014/main" id="{4A8D8D9A-FAB4-ECF4-3780-23342826814C}"/>
              </a:ext>
            </a:extLst>
          </p:cNvPr>
          <p:cNvGrpSpPr/>
          <p:nvPr/>
        </p:nvGrpSpPr>
        <p:grpSpPr>
          <a:xfrm>
            <a:off x="18435179" y="7391551"/>
            <a:ext cx="4370698" cy="5571398"/>
            <a:chOff x="8923455" y="2553929"/>
            <a:chExt cx="2974783" cy="3792003"/>
          </a:xfrm>
        </p:grpSpPr>
        <p:grpSp>
          <p:nvGrpSpPr>
            <p:cNvPr id="83" name="Group 82">
              <a:extLst>
                <a:ext uri="{FF2B5EF4-FFF2-40B4-BE49-F238E27FC236}">
                  <a16:creationId xmlns:a16="http://schemas.microsoft.com/office/drawing/2014/main" id="{C439E757-E973-365B-EA88-A32B8236127D}"/>
                </a:ext>
              </a:extLst>
            </p:cNvPr>
            <p:cNvGrpSpPr/>
            <p:nvPr/>
          </p:nvGrpSpPr>
          <p:grpSpPr>
            <a:xfrm>
              <a:off x="8923455" y="3129884"/>
              <a:ext cx="1451309" cy="3201657"/>
              <a:chOff x="16925663" y="5631067"/>
              <a:chExt cx="3518486" cy="7761951"/>
            </a:xfrm>
          </p:grpSpPr>
          <p:grpSp>
            <p:nvGrpSpPr>
              <p:cNvPr id="84" name="Group 83">
                <a:extLst>
                  <a:ext uri="{FF2B5EF4-FFF2-40B4-BE49-F238E27FC236}">
                    <a16:creationId xmlns:a16="http://schemas.microsoft.com/office/drawing/2014/main" id="{07A87181-D66C-41B0-47CF-E94E4258EA64}"/>
                  </a:ext>
                </a:extLst>
              </p:cNvPr>
              <p:cNvGrpSpPr/>
              <p:nvPr/>
            </p:nvGrpSpPr>
            <p:grpSpPr>
              <a:xfrm>
                <a:off x="16925664" y="5631067"/>
                <a:ext cx="3518485" cy="4743544"/>
                <a:chOff x="19443499" y="2792456"/>
                <a:chExt cx="3518485" cy="4743544"/>
              </a:xfrm>
            </p:grpSpPr>
            <p:pic>
              <p:nvPicPr>
                <p:cNvPr id="89" name="Picture 88">
                  <a:extLst>
                    <a:ext uri="{FF2B5EF4-FFF2-40B4-BE49-F238E27FC236}">
                      <a16:creationId xmlns:a16="http://schemas.microsoft.com/office/drawing/2014/main" id="{455503E4-1075-DD4C-130A-8B5979BA5AD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19487293" y="3340778"/>
                  <a:ext cx="3430897" cy="676737"/>
                </a:xfrm>
                <a:prstGeom prst="rect">
                  <a:avLst/>
                </a:prstGeom>
              </p:spPr>
            </p:pic>
            <p:pic>
              <p:nvPicPr>
                <p:cNvPr id="90" name="Picture 89">
                  <a:extLst>
                    <a:ext uri="{FF2B5EF4-FFF2-40B4-BE49-F238E27FC236}">
                      <a16:creationId xmlns:a16="http://schemas.microsoft.com/office/drawing/2014/main" id="{B041B3B7-FDC5-8DAF-D868-25E3E1165BC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9443500" y="4017515"/>
                  <a:ext cx="3518484" cy="3518485"/>
                </a:xfrm>
                <a:prstGeom prst="rect">
                  <a:avLst/>
                </a:prstGeom>
              </p:spPr>
            </p:pic>
            <p:pic>
              <p:nvPicPr>
                <p:cNvPr id="91" name="Picture 90">
                  <a:extLst>
                    <a:ext uri="{FF2B5EF4-FFF2-40B4-BE49-F238E27FC236}">
                      <a16:creationId xmlns:a16="http://schemas.microsoft.com/office/drawing/2014/main" id="{2A94C775-136B-3325-89F5-CF7FDABFB46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9443499" y="2792456"/>
                  <a:ext cx="3518484" cy="3518485"/>
                </a:xfrm>
                <a:prstGeom prst="rect">
                  <a:avLst/>
                </a:prstGeom>
              </p:spPr>
            </p:pic>
          </p:grpSp>
          <p:grpSp>
            <p:nvGrpSpPr>
              <p:cNvPr id="85" name="Group 84">
                <a:extLst>
                  <a:ext uri="{FF2B5EF4-FFF2-40B4-BE49-F238E27FC236}">
                    <a16:creationId xmlns:a16="http://schemas.microsoft.com/office/drawing/2014/main" id="{15045041-98DE-1A9C-5D8F-69BD17993051}"/>
                  </a:ext>
                </a:extLst>
              </p:cNvPr>
              <p:cNvGrpSpPr/>
              <p:nvPr/>
            </p:nvGrpSpPr>
            <p:grpSpPr>
              <a:xfrm>
                <a:off x="16925663" y="8649474"/>
                <a:ext cx="3518485" cy="4743544"/>
                <a:chOff x="19443499" y="2792456"/>
                <a:chExt cx="3518485" cy="4743544"/>
              </a:xfrm>
            </p:grpSpPr>
            <p:pic>
              <p:nvPicPr>
                <p:cNvPr id="86" name="Picture 85">
                  <a:extLst>
                    <a:ext uri="{FF2B5EF4-FFF2-40B4-BE49-F238E27FC236}">
                      <a16:creationId xmlns:a16="http://schemas.microsoft.com/office/drawing/2014/main" id="{68F5BC45-B80D-4C12-6649-5F378AD9E46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/>
                <a:stretch>
                  <a:fillRect/>
                </a:stretch>
              </p:blipFill>
              <p:spPr>
                <a:xfrm>
                  <a:off x="19487293" y="3340778"/>
                  <a:ext cx="3430897" cy="676737"/>
                </a:xfrm>
                <a:prstGeom prst="rect">
                  <a:avLst/>
                </a:prstGeom>
              </p:spPr>
            </p:pic>
            <p:pic>
              <p:nvPicPr>
                <p:cNvPr id="87" name="Picture 86">
                  <a:extLst>
                    <a:ext uri="{FF2B5EF4-FFF2-40B4-BE49-F238E27FC236}">
                      <a16:creationId xmlns:a16="http://schemas.microsoft.com/office/drawing/2014/main" id="{AD0E2040-7B1B-30DC-771A-A12D110D63D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9443500" y="4017515"/>
                  <a:ext cx="3518484" cy="3518485"/>
                </a:xfrm>
                <a:prstGeom prst="rect">
                  <a:avLst/>
                </a:prstGeom>
              </p:spPr>
            </p:pic>
            <p:pic>
              <p:nvPicPr>
                <p:cNvPr id="88" name="Picture 87">
                  <a:extLst>
                    <a:ext uri="{FF2B5EF4-FFF2-40B4-BE49-F238E27FC236}">
                      <a16:creationId xmlns:a16="http://schemas.microsoft.com/office/drawing/2014/main" id="{B2E38025-D96F-F7E7-3B83-51B436DCA8F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9443499" y="2792456"/>
                  <a:ext cx="3518484" cy="3518485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92" name="Group 91">
              <a:extLst>
                <a:ext uri="{FF2B5EF4-FFF2-40B4-BE49-F238E27FC236}">
                  <a16:creationId xmlns:a16="http://schemas.microsoft.com/office/drawing/2014/main" id="{8046DF10-D25D-CA94-4D7F-7FCD13B4EDAF}"/>
                </a:ext>
              </a:extLst>
            </p:cNvPr>
            <p:cNvGrpSpPr/>
            <p:nvPr/>
          </p:nvGrpSpPr>
          <p:grpSpPr>
            <a:xfrm>
              <a:off x="10469664" y="2553929"/>
              <a:ext cx="1428574" cy="1916399"/>
              <a:chOff x="2208382" y="6327407"/>
              <a:chExt cx="3810197" cy="5111293"/>
            </a:xfrm>
          </p:grpSpPr>
          <p:pic>
            <p:nvPicPr>
              <p:cNvPr id="93" name="Picture 92">
                <a:extLst>
                  <a:ext uri="{FF2B5EF4-FFF2-40B4-BE49-F238E27FC236}">
                    <a16:creationId xmlns:a16="http://schemas.microsoft.com/office/drawing/2014/main" id="{F1D568AD-4B44-A360-E77C-67FE42F6AD1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208383" y="8022776"/>
                <a:ext cx="3810196" cy="1714588"/>
              </a:xfrm>
              <a:prstGeom prst="rect">
                <a:avLst/>
              </a:prstGeom>
            </p:spPr>
          </p:pic>
          <p:pic>
            <p:nvPicPr>
              <p:cNvPr id="94" name="Picture 93">
                <a:extLst>
                  <a:ext uri="{FF2B5EF4-FFF2-40B4-BE49-F238E27FC236}">
                    <a16:creationId xmlns:a16="http://schemas.microsoft.com/office/drawing/2014/main" id="{16AF8E5F-5990-E1FC-ABE9-E98319890D4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208382" y="9724112"/>
                <a:ext cx="3810196" cy="1714588"/>
              </a:xfrm>
              <a:prstGeom prst="rect">
                <a:avLst/>
              </a:prstGeom>
            </p:spPr>
          </p:pic>
          <p:pic>
            <p:nvPicPr>
              <p:cNvPr id="95" name="Picture 94">
                <a:extLst>
                  <a:ext uri="{FF2B5EF4-FFF2-40B4-BE49-F238E27FC236}">
                    <a16:creationId xmlns:a16="http://schemas.microsoft.com/office/drawing/2014/main" id="{9A28B463-5449-EB95-031D-B7B1A74FE68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2208382" y="6327407"/>
                <a:ext cx="3810196" cy="1701888"/>
              </a:xfrm>
              <a:prstGeom prst="rect">
                <a:avLst/>
              </a:prstGeom>
            </p:spPr>
          </p:pic>
        </p:grpSp>
        <p:grpSp>
          <p:nvGrpSpPr>
            <p:cNvPr id="96" name="Group 95">
              <a:extLst>
                <a:ext uri="{FF2B5EF4-FFF2-40B4-BE49-F238E27FC236}">
                  <a16:creationId xmlns:a16="http://schemas.microsoft.com/office/drawing/2014/main" id="{9798EF89-BA0C-BAA6-5572-685346F8E9AE}"/>
                </a:ext>
              </a:extLst>
            </p:cNvPr>
            <p:cNvGrpSpPr/>
            <p:nvPr/>
          </p:nvGrpSpPr>
          <p:grpSpPr>
            <a:xfrm>
              <a:off x="10484090" y="4653773"/>
              <a:ext cx="1414148" cy="1692159"/>
              <a:chOff x="21393865" y="7553810"/>
              <a:chExt cx="2684764" cy="2844943"/>
            </a:xfrm>
          </p:grpSpPr>
          <p:pic>
            <p:nvPicPr>
              <p:cNvPr id="97" name="Picture 96">
                <a:extLst>
                  <a:ext uri="{FF2B5EF4-FFF2-40B4-BE49-F238E27FC236}">
                    <a16:creationId xmlns:a16="http://schemas.microsoft.com/office/drawing/2014/main" id="{1BF10C3B-FE16-ED52-989F-8C4CDC28B66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1393865" y="7553810"/>
                <a:ext cx="2684764" cy="483258"/>
              </a:xfrm>
              <a:prstGeom prst="rect">
                <a:avLst/>
              </a:prstGeom>
            </p:spPr>
          </p:pic>
          <p:pic>
            <p:nvPicPr>
              <p:cNvPr id="98" name="Picture 97">
                <a:extLst>
                  <a:ext uri="{FF2B5EF4-FFF2-40B4-BE49-F238E27FC236}">
                    <a16:creationId xmlns:a16="http://schemas.microsoft.com/office/drawing/2014/main" id="{0D244075-5732-66C9-63F2-F61474B0867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1393865" y="8026147"/>
                <a:ext cx="2684764" cy="483258"/>
              </a:xfrm>
              <a:prstGeom prst="rect">
                <a:avLst/>
              </a:prstGeom>
            </p:spPr>
          </p:pic>
          <p:pic>
            <p:nvPicPr>
              <p:cNvPr id="99" name="Picture 98">
                <a:extLst>
                  <a:ext uri="{FF2B5EF4-FFF2-40B4-BE49-F238E27FC236}">
                    <a16:creationId xmlns:a16="http://schemas.microsoft.com/office/drawing/2014/main" id="{8BFFBBD6-4A7A-E2DA-BAEA-A2F4A15BB8F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1393865" y="8498484"/>
                <a:ext cx="2684764" cy="483258"/>
              </a:xfrm>
              <a:prstGeom prst="rect">
                <a:avLst/>
              </a:prstGeom>
            </p:spPr>
          </p:pic>
          <p:pic>
            <p:nvPicPr>
              <p:cNvPr id="100" name="Picture 99">
                <a:extLst>
                  <a:ext uri="{FF2B5EF4-FFF2-40B4-BE49-F238E27FC236}">
                    <a16:creationId xmlns:a16="http://schemas.microsoft.com/office/drawing/2014/main" id="{6F05A43D-8DE8-797E-612F-BD33AEAA99D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1393865" y="8970821"/>
                <a:ext cx="2684764" cy="483258"/>
              </a:xfrm>
              <a:prstGeom prst="rect">
                <a:avLst/>
              </a:prstGeom>
            </p:spPr>
          </p:pic>
          <p:pic>
            <p:nvPicPr>
              <p:cNvPr id="101" name="Picture 100">
                <a:extLst>
                  <a:ext uri="{FF2B5EF4-FFF2-40B4-BE49-F238E27FC236}">
                    <a16:creationId xmlns:a16="http://schemas.microsoft.com/office/drawing/2014/main" id="{7FF2D13C-BAEE-EAE9-9321-6AA67740575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1393865" y="9443158"/>
                <a:ext cx="2684764" cy="483258"/>
              </a:xfrm>
              <a:prstGeom prst="rect">
                <a:avLst/>
              </a:prstGeom>
            </p:spPr>
          </p:pic>
          <p:pic>
            <p:nvPicPr>
              <p:cNvPr id="102" name="Picture 101">
                <a:extLst>
                  <a:ext uri="{FF2B5EF4-FFF2-40B4-BE49-F238E27FC236}">
                    <a16:creationId xmlns:a16="http://schemas.microsoft.com/office/drawing/2014/main" id="{152C548D-B312-7B9F-6C2A-C57373D3FA6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1393865" y="9915495"/>
                <a:ext cx="2684764" cy="483258"/>
              </a:xfrm>
              <a:prstGeom prst="rect">
                <a:avLst/>
              </a:prstGeom>
            </p:spPr>
          </p:pic>
        </p:grpSp>
      </p:grpSp>
      <p:sp>
        <p:nvSpPr>
          <p:cNvPr id="104" name="TextBox 103">
            <a:extLst>
              <a:ext uri="{FF2B5EF4-FFF2-40B4-BE49-F238E27FC236}">
                <a16:creationId xmlns:a16="http://schemas.microsoft.com/office/drawing/2014/main" id="{1630C21D-E034-D547-A78F-4529E329DD58}"/>
              </a:ext>
            </a:extLst>
          </p:cNvPr>
          <p:cNvSpPr txBox="1"/>
          <p:nvPr/>
        </p:nvSpPr>
        <p:spPr>
          <a:xfrm>
            <a:off x="8267187" y="6663190"/>
            <a:ext cx="4945476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828800"/>
            <a:r>
              <a:rPr lang="en-US" sz="4000" b="1" dirty="0">
                <a:solidFill>
                  <a:srgbClr val="FFFFFF"/>
                </a:solidFill>
                <a:latin typeface="Arial" panose="020B0604020202020204"/>
              </a:rPr>
              <a:t>QuantaStor 6</a:t>
            </a: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3C308EFF-632F-7380-2BA3-9822D9F08772}"/>
              </a:ext>
            </a:extLst>
          </p:cNvPr>
          <p:cNvSpPr txBox="1"/>
          <p:nvPr/>
        </p:nvSpPr>
        <p:spPr>
          <a:xfrm>
            <a:off x="7535292" y="7561287"/>
            <a:ext cx="6409266" cy="40030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828800">
              <a:lnSpc>
                <a:spcPct val="70000"/>
              </a:lnSpc>
            </a:pPr>
            <a:r>
              <a:rPr lang="en-US" sz="2800" dirty="0">
                <a:solidFill>
                  <a:srgbClr val="FFFFFF"/>
                </a:solidFill>
                <a:latin typeface="Arial" panose="020B0604020202020204"/>
              </a:rPr>
              <a:t>Software Defined Storage Platform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F312C2B7-AE48-A5CE-0699-DF64D1CA397D}"/>
              </a:ext>
            </a:extLst>
          </p:cNvPr>
          <p:cNvGrpSpPr/>
          <p:nvPr/>
        </p:nvGrpSpPr>
        <p:grpSpPr>
          <a:xfrm>
            <a:off x="8025684" y="5664724"/>
            <a:ext cx="5428483" cy="895918"/>
            <a:chOff x="8295984" y="5664724"/>
            <a:chExt cx="5428483" cy="895918"/>
          </a:xfrm>
        </p:grpSpPr>
        <p:pic>
          <p:nvPicPr>
            <p:cNvPr id="113" name="Picture 112">
              <a:extLst>
                <a:ext uri="{FF2B5EF4-FFF2-40B4-BE49-F238E27FC236}">
                  <a16:creationId xmlns:a16="http://schemas.microsoft.com/office/drawing/2014/main" id="{D3BB490F-D02A-B42D-8604-88BC6AE94CC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8295984" y="5916265"/>
              <a:ext cx="2223848" cy="392836"/>
            </a:xfrm>
            <a:prstGeom prst="rect">
              <a:avLst/>
            </a:prstGeom>
          </p:spPr>
        </p:pic>
        <p:pic>
          <p:nvPicPr>
            <p:cNvPr id="114" name="Picture 113">
              <a:extLst>
                <a:ext uri="{FF2B5EF4-FFF2-40B4-BE49-F238E27FC236}">
                  <a16:creationId xmlns:a16="http://schemas.microsoft.com/office/drawing/2014/main" id="{F46225AC-2D84-AE26-A9F1-E16BBB61CFA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10488461" y="5664724"/>
              <a:ext cx="3236006" cy="895918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8B4214E-F81B-8A4E-0CDE-5971F547B48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828804" y="567777"/>
            <a:ext cx="20726399" cy="1133518"/>
          </a:xfrm>
        </p:spPr>
        <p:txBody>
          <a:bodyPr/>
          <a:lstStyle/>
          <a:p>
            <a:r>
              <a:rPr lang="en-US" sz="7200" dirty="0"/>
              <a:t>Next Generation Software Defined Storage</a:t>
            </a:r>
          </a:p>
        </p:txBody>
      </p:sp>
    </p:spTree>
    <p:extLst>
      <p:ext uri="{BB962C8B-B14F-4D97-AF65-F5344CB8AC3E}">
        <p14:creationId xmlns:p14="http://schemas.microsoft.com/office/powerpoint/2010/main" val="12215728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94662C0-AA70-FCD4-680B-17A7C493E753}"/>
              </a:ext>
            </a:extLst>
          </p:cNvPr>
          <p:cNvSpPr/>
          <p:nvPr/>
        </p:nvSpPr>
        <p:spPr>
          <a:xfrm>
            <a:off x="19318514" y="12685486"/>
            <a:ext cx="4412343" cy="856343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Open Sans Ligh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B222897-2009-B3FA-F7AA-8B6257E8FDD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New Innovations, New Challeng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6850C0-E347-BEAD-2CDD-55FE30BA174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05728" y="4093024"/>
            <a:ext cx="16201609" cy="7460417"/>
          </a:xfrm>
        </p:spPr>
        <p:txBody>
          <a:bodyPr/>
          <a:lstStyle/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sz="4000" dirty="0"/>
              <a:t>HAMR technology will deliver 30TB HDDs and beyond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sz="4000" dirty="0"/>
              <a:t>Storage clusters are requiring increasing amounts of compute power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sz="4000" dirty="0"/>
              <a:t>Replacing media is time consuming and labor intensiv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CA03E1A-CD8E-750D-3174-E1D40DC5CA9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762725" y="7590320"/>
            <a:ext cx="5870058" cy="528057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F680474-EFDA-B256-CF86-DB72F58838B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529913" y="4187589"/>
            <a:ext cx="4274226" cy="473122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070EF805-EB2F-9878-0463-F9A2A2AD9FF4}"/>
              </a:ext>
            </a:extLst>
          </p:cNvPr>
          <p:cNvSpPr/>
          <p:nvPr/>
        </p:nvSpPr>
        <p:spPr>
          <a:xfrm>
            <a:off x="10722634" y="2027209"/>
            <a:ext cx="2380892" cy="733246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800"/>
            <a:endParaRPr lang="en-US" dirty="0">
              <a:solidFill>
                <a:srgbClr val="FFFFFF"/>
              </a:solidFill>
              <a:latin typeface="Open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110143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222897-2009-B3FA-F7AA-8B6257E8FDD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A New Generation of Storage Virtualiza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6850C0-E347-BEAD-2CDD-55FE30BA174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76214" y="3356178"/>
            <a:ext cx="12412316" cy="4074432"/>
          </a:xfrm>
        </p:spPr>
        <p:txBody>
          <a:bodyPr/>
          <a:lstStyle/>
          <a:p>
            <a:r>
              <a:rPr lang="en-US" dirty="0"/>
              <a:t>To solve the rebuild time issue, we need smart JBODs with fast auto-healing via advanced erasure-coding technology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endParaRPr lang="en-US" dirty="0"/>
          </a:p>
          <a:p>
            <a:pPr marL="571500" indent="-57150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grpSp>
        <p:nvGrpSpPr>
          <p:cNvPr id="171" name="Group 170">
            <a:extLst>
              <a:ext uri="{FF2B5EF4-FFF2-40B4-BE49-F238E27FC236}">
                <a16:creationId xmlns:a16="http://schemas.microsoft.com/office/drawing/2014/main" id="{F68F18E1-5872-324D-D583-B9B259A7C921}"/>
              </a:ext>
            </a:extLst>
          </p:cNvPr>
          <p:cNvGrpSpPr/>
          <p:nvPr/>
        </p:nvGrpSpPr>
        <p:grpSpPr>
          <a:xfrm>
            <a:off x="14297812" y="8398471"/>
            <a:ext cx="7939173" cy="4263980"/>
            <a:chOff x="5533302" y="8847519"/>
            <a:chExt cx="7939173" cy="4263980"/>
          </a:xfrm>
        </p:grpSpPr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DBAA7D58-2523-5270-62E4-7E8F88B5FFB5}"/>
                </a:ext>
              </a:extLst>
            </p:cNvPr>
            <p:cNvGrpSpPr/>
            <p:nvPr/>
          </p:nvGrpSpPr>
          <p:grpSpPr>
            <a:xfrm>
              <a:off x="5533302" y="8847519"/>
              <a:ext cx="4008263" cy="4263980"/>
              <a:chOff x="5533302" y="8847519"/>
              <a:chExt cx="4008263" cy="4263980"/>
            </a:xfrm>
          </p:grpSpPr>
          <p:grpSp>
            <p:nvGrpSpPr>
              <p:cNvPr id="15" name="Group 14">
                <a:extLst>
                  <a:ext uri="{FF2B5EF4-FFF2-40B4-BE49-F238E27FC236}">
                    <a16:creationId xmlns:a16="http://schemas.microsoft.com/office/drawing/2014/main" id="{9E9499BE-8367-81D1-120C-3B333F4E7C28}"/>
                  </a:ext>
                </a:extLst>
              </p:cNvPr>
              <p:cNvGrpSpPr/>
              <p:nvPr/>
            </p:nvGrpSpPr>
            <p:grpSpPr>
              <a:xfrm>
                <a:off x="5540244" y="9567316"/>
                <a:ext cx="4001321" cy="664993"/>
                <a:chOff x="9052070" y="9899374"/>
                <a:chExt cx="6698091" cy="1113178"/>
              </a:xfrm>
            </p:grpSpPr>
            <p:pic>
              <p:nvPicPr>
                <p:cNvPr id="7" name="Picture 6">
                  <a:extLst>
                    <a:ext uri="{FF2B5EF4-FFF2-40B4-BE49-F238E27FC236}">
                      <a16:creationId xmlns:a16="http://schemas.microsoft.com/office/drawing/2014/main" id="{9B6CD2E4-88C9-E9C0-A79F-83F8D29B6E4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05207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8" name="Picture 7">
                  <a:extLst>
                    <a:ext uri="{FF2B5EF4-FFF2-40B4-BE49-F238E27FC236}">
                      <a16:creationId xmlns:a16="http://schemas.microsoft.com/office/drawing/2014/main" id="{311DABC6-3983-7713-1185-B6325DCFA97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86527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9" name="Picture 8">
                  <a:extLst>
                    <a:ext uri="{FF2B5EF4-FFF2-40B4-BE49-F238E27FC236}">
                      <a16:creationId xmlns:a16="http://schemas.microsoft.com/office/drawing/2014/main" id="{B143691A-7965-CF57-235F-3BF9D9E797C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67848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0" name="Picture 9">
                  <a:extLst>
                    <a:ext uri="{FF2B5EF4-FFF2-40B4-BE49-F238E27FC236}">
                      <a16:creationId xmlns:a16="http://schemas.microsoft.com/office/drawing/2014/main" id="{E0A2CBCB-A131-0D78-DF97-FBC8FDF9125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49168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1" name="Picture 10">
                  <a:extLst>
                    <a:ext uri="{FF2B5EF4-FFF2-40B4-BE49-F238E27FC236}">
                      <a16:creationId xmlns:a16="http://schemas.microsoft.com/office/drawing/2014/main" id="{AC55CEE5-40E5-680B-6697-6102207F3A8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230489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2" name="Picture 11">
                  <a:extLst>
                    <a:ext uri="{FF2B5EF4-FFF2-40B4-BE49-F238E27FC236}">
                      <a16:creationId xmlns:a16="http://schemas.microsoft.com/office/drawing/2014/main" id="{5B4C0C41-6E65-FC05-A6CC-38D8ABCE03F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311809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3" name="Picture 12">
                  <a:extLst>
                    <a:ext uri="{FF2B5EF4-FFF2-40B4-BE49-F238E27FC236}">
                      <a16:creationId xmlns:a16="http://schemas.microsoft.com/office/drawing/2014/main" id="{B328E3B4-EF43-8085-420B-F8AF1B486E6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393130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4" name="Picture 13">
                  <a:extLst>
                    <a:ext uri="{FF2B5EF4-FFF2-40B4-BE49-F238E27FC236}">
                      <a16:creationId xmlns:a16="http://schemas.microsoft.com/office/drawing/2014/main" id="{33EE0600-9A2A-413A-3857-BD577061C97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4744506" y="9899374"/>
                  <a:ext cx="1005655" cy="1113178"/>
                </a:xfrm>
                <a:prstGeom prst="rect">
                  <a:avLst/>
                </a:prstGeom>
              </p:spPr>
            </p:pic>
          </p:grpSp>
          <p:grpSp>
            <p:nvGrpSpPr>
              <p:cNvPr id="16" name="Group 15">
                <a:extLst>
                  <a:ext uri="{FF2B5EF4-FFF2-40B4-BE49-F238E27FC236}">
                    <a16:creationId xmlns:a16="http://schemas.microsoft.com/office/drawing/2014/main" id="{6D1DAE66-D217-62A7-C9D3-01111C973534}"/>
                  </a:ext>
                </a:extLst>
              </p:cNvPr>
              <p:cNvGrpSpPr/>
              <p:nvPr/>
            </p:nvGrpSpPr>
            <p:grpSpPr>
              <a:xfrm>
                <a:off x="5540244" y="10287113"/>
                <a:ext cx="4001321" cy="664993"/>
                <a:chOff x="9052070" y="9899374"/>
                <a:chExt cx="6698091" cy="1113178"/>
              </a:xfrm>
            </p:grpSpPr>
            <p:pic>
              <p:nvPicPr>
                <p:cNvPr id="17" name="Picture 16">
                  <a:extLst>
                    <a:ext uri="{FF2B5EF4-FFF2-40B4-BE49-F238E27FC236}">
                      <a16:creationId xmlns:a16="http://schemas.microsoft.com/office/drawing/2014/main" id="{B5FC20E4-A982-D3B7-12ED-8C32B34D170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05207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8" name="Picture 17">
                  <a:extLst>
                    <a:ext uri="{FF2B5EF4-FFF2-40B4-BE49-F238E27FC236}">
                      <a16:creationId xmlns:a16="http://schemas.microsoft.com/office/drawing/2014/main" id="{B497EF77-E4C3-7ABA-4A80-1D07A0B1448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86527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9" name="Picture 18">
                  <a:extLst>
                    <a:ext uri="{FF2B5EF4-FFF2-40B4-BE49-F238E27FC236}">
                      <a16:creationId xmlns:a16="http://schemas.microsoft.com/office/drawing/2014/main" id="{55116981-0A38-FBE0-78A6-8DBEC3CFF5E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67848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20" name="Picture 19">
                  <a:extLst>
                    <a:ext uri="{FF2B5EF4-FFF2-40B4-BE49-F238E27FC236}">
                      <a16:creationId xmlns:a16="http://schemas.microsoft.com/office/drawing/2014/main" id="{1BD4B1A3-5F22-152F-C325-4399CE70F8D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49168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21" name="Picture 20">
                  <a:extLst>
                    <a:ext uri="{FF2B5EF4-FFF2-40B4-BE49-F238E27FC236}">
                      <a16:creationId xmlns:a16="http://schemas.microsoft.com/office/drawing/2014/main" id="{FE0FAEC3-798B-F1D0-9B03-B7779AD5E06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230489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22" name="Picture 21">
                  <a:extLst>
                    <a:ext uri="{FF2B5EF4-FFF2-40B4-BE49-F238E27FC236}">
                      <a16:creationId xmlns:a16="http://schemas.microsoft.com/office/drawing/2014/main" id="{080BBDB9-97B8-4549-D927-D2B785FE08E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311809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23" name="Picture 22">
                  <a:extLst>
                    <a:ext uri="{FF2B5EF4-FFF2-40B4-BE49-F238E27FC236}">
                      <a16:creationId xmlns:a16="http://schemas.microsoft.com/office/drawing/2014/main" id="{448764B9-36BB-82D7-35F0-08631A4A2EF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393130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24" name="Picture 23">
                  <a:extLst>
                    <a:ext uri="{FF2B5EF4-FFF2-40B4-BE49-F238E27FC236}">
                      <a16:creationId xmlns:a16="http://schemas.microsoft.com/office/drawing/2014/main" id="{D1072673-0421-4C61-78E7-9C5DBBDE6B8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4744506" y="9899374"/>
                  <a:ext cx="1005655" cy="1113178"/>
                </a:xfrm>
                <a:prstGeom prst="rect">
                  <a:avLst/>
                </a:prstGeom>
              </p:spPr>
            </p:pic>
          </p:grpSp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97DDB5B4-6679-5AA0-D3F3-715B2A68AE60}"/>
                  </a:ext>
                </a:extLst>
              </p:cNvPr>
              <p:cNvGrpSpPr/>
              <p:nvPr/>
            </p:nvGrpSpPr>
            <p:grpSpPr>
              <a:xfrm>
                <a:off x="5533302" y="11006910"/>
                <a:ext cx="4001321" cy="664993"/>
                <a:chOff x="9052070" y="9899374"/>
                <a:chExt cx="6698091" cy="1113178"/>
              </a:xfrm>
            </p:grpSpPr>
            <p:pic>
              <p:nvPicPr>
                <p:cNvPr id="44" name="Picture 43">
                  <a:extLst>
                    <a:ext uri="{FF2B5EF4-FFF2-40B4-BE49-F238E27FC236}">
                      <a16:creationId xmlns:a16="http://schemas.microsoft.com/office/drawing/2014/main" id="{C1D1FC0C-B182-4852-82A4-DE501537266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05207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45" name="Picture 44">
                  <a:extLst>
                    <a:ext uri="{FF2B5EF4-FFF2-40B4-BE49-F238E27FC236}">
                      <a16:creationId xmlns:a16="http://schemas.microsoft.com/office/drawing/2014/main" id="{7D0BB560-0CB9-59AB-8A3D-E8DF7C3538F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86527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46" name="Picture 45">
                  <a:extLst>
                    <a:ext uri="{FF2B5EF4-FFF2-40B4-BE49-F238E27FC236}">
                      <a16:creationId xmlns:a16="http://schemas.microsoft.com/office/drawing/2014/main" id="{0B5F5C34-8F07-0D62-DE0B-CD56436DD2A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67848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47" name="Picture 46">
                  <a:extLst>
                    <a:ext uri="{FF2B5EF4-FFF2-40B4-BE49-F238E27FC236}">
                      <a16:creationId xmlns:a16="http://schemas.microsoft.com/office/drawing/2014/main" id="{97B3F05A-854B-6D6D-54CA-6FED50A7C0F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49168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48" name="Picture 47">
                  <a:extLst>
                    <a:ext uri="{FF2B5EF4-FFF2-40B4-BE49-F238E27FC236}">
                      <a16:creationId xmlns:a16="http://schemas.microsoft.com/office/drawing/2014/main" id="{5BCA7D3E-1B3A-BF0A-5F90-D14C7758793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230489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49" name="Picture 48">
                  <a:extLst>
                    <a:ext uri="{FF2B5EF4-FFF2-40B4-BE49-F238E27FC236}">
                      <a16:creationId xmlns:a16="http://schemas.microsoft.com/office/drawing/2014/main" id="{89A3BFFD-A8A2-6B2B-4BCB-FC673095D85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311809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50" name="Picture 49">
                  <a:extLst>
                    <a:ext uri="{FF2B5EF4-FFF2-40B4-BE49-F238E27FC236}">
                      <a16:creationId xmlns:a16="http://schemas.microsoft.com/office/drawing/2014/main" id="{3BD60D09-6049-D3BE-ED61-B61C1CDEA3E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393130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51" name="Picture 50">
                  <a:extLst>
                    <a:ext uri="{FF2B5EF4-FFF2-40B4-BE49-F238E27FC236}">
                      <a16:creationId xmlns:a16="http://schemas.microsoft.com/office/drawing/2014/main" id="{A5BEC744-2C79-D34C-524B-0F73572534D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4744506" y="9899374"/>
                  <a:ext cx="1005655" cy="1113178"/>
                </a:xfrm>
                <a:prstGeom prst="rect">
                  <a:avLst/>
                </a:prstGeom>
              </p:spPr>
            </p:pic>
          </p:grpSp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35CEFAF8-4F71-75DF-47DF-1FB081C8A46B}"/>
                  </a:ext>
                </a:extLst>
              </p:cNvPr>
              <p:cNvGrpSpPr/>
              <p:nvPr/>
            </p:nvGrpSpPr>
            <p:grpSpPr>
              <a:xfrm>
                <a:off x="5533302" y="11726707"/>
                <a:ext cx="4001321" cy="664993"/>
                <a:chOff x="9052070" y="9899374"/>
                <a:chExt cx="6698091" cy="1113178"/>
              </a:xfrm>
            </p:grpSpPr>
            <p:pic>
              <p:nvPicPr>
                <p:cNvPr id="53" name="Picture 52">
                  <a:extLst>
                    <a:ext uri="{FF2B5EF4-FFF2-40B4-BE49-F238E27FC236}">
                      <a16:creationId xmlns:a16="http://schemas.microsoft.com/office/drawing/2014/main" id="{06E6318A-6CB0-819F-C01D-62F374650C3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05207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54" name="Picture 53">
                  <a:extLst>
                    <a:ext uri="{FF2B5EF4-FFF2-40B4-BE49-F238E27FC236}">
                      <a16:creationId xmlns:a16="http://schemas.microsoft.com/office/drawing/2014/main" id="{271F370B-47C2-89CC-59EE-B49786B42C8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86527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55" name="Picture 54">
                  <a:extLst>
                    <a:ext uri="{FF2B5EF4-FFF2-40B4-BE49-F238E27FC236}">
                      <a16:creationId xmlns:a16="http://schemas.microsoft.com/office/drawing/2014/main" id="{A2A373D2-31D8-F9BA-7064-96FE00B7C9A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67848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56" name="Picture 55">
                  <a:extLst>
                    <a:ext uri="{FF2B5EF4-FFF2-40B4-BE49-F238E27FC236}">
                      <a16:creationId xmlns:a16="http://schemas.microsoft.com/office/drawing/2014/main" id="{AFAA5A5C-CDB6-FA58-56BC-A854BFF62C4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49168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57" name="Picture 56">
                  <a:extLst>
                    <a:ext uri="{FF2B5EF4-FFF2-40B4-BE49-F238E27FC236}">
                      <a16:creationId xmlns:a16="http://schemas.microsoft.com/office/drawing/2014/main" id="{DA249B01-4CE7-C290-836A-B52E61AE6D5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230489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58" name="Picture 57">
                  <a:extLst>
                    <a:ext uri="{FF2B5EF4-FFF2-40B4-BE49-F238E27FC236}">
                      <a16:creationId xmlns:a16="http://schemas.microsoft.com/office/drawing/2014/main" id="{8F96E5EE-00FB-D240-00DA-891CF98E8A9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311809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59" name="Picture 58">
                  <a:extLst>
                    <a:ext uri="{FF2B5EF4-FFF2-40B4-BE49-F238E27FC236}">
                      <a16:creationId xmlns:a16="http://schemas.microsoft.com/office/drawing/2014/main" id="{F4D00D2B-3AFB-D432-5D54-BAE19350321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393130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60" name="Picture 59">
                  <a:extLst>
                    <a:ext uri="{FF2B5EF4-FFF2-40B4-BE49-F238E27FC236}">
                      <a16:creationId xmlns:a16="http://schemas.microsoft.com/office/drawing/2014/main" id="{7FCEE044-018A-4951-CB70-A31425D0451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4744506" y="9899374"/>
                  <a:ext cx="1005655" cy="1113178"/>
                </a:xfrm>
                <a:prstGeom prst="rect">
                  <a:avLst/>
                </a:prstGeom>
              </p:spPr>
            </p:pic>
          </p:grpSp>
          <p:grpSp>
            <p:nvGrpSpPr>
              <p:cNvPr id="79" name="Group 78">
                <a:extLst>
                  <a:ext uri="{FF2B5EF4-FFF2-40B4-BE49-F238E27FC236}">
                    <a16:creationId xmlns:a16="http://schemas.microsoft.com/office/drawing/2014/main" id="{578219B1-4DB5-4E12-342D-E2AD914EA02F}"/>
                  </a:ext>
                </a:extLst>
              </p:cNvPr>
              <p:cNvGrpSpPr/>
              <p:nvPr/>
            </p:nvGrpSpPr>
            <p:grpSpPr>
              <a:xfrm>
                <a:off x="5540244" y="12446506"/>
                <a:ext cx="4001321" cy="664993"/>
                <a:chOff x="9052070" y="9899374"/>
                <a:chExt cx="6698091" cy="1113178"/>
              </a:xfrm>
            </p:grpSpPr>
            <p:pic>
              <p:nvPicPr>
                <p:cNvPr id="80" name="Picture 79">
                  <a:extLst>
                    <a:ext uri="{FF2B5EF4-FFF2-40B4-BE49-F238E27FC236}">
                      <a16:creationId xmlns:a16="http://schemas.microsoft.com/office/drawing/2014/main" id="{98EF9D0A-A748-F630-7F43-DA6D93A5A3F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05207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81" name="Picture 80">
                  <a:extLst>
                    <a:ext uri="{FF2B5EF4-FFF2-40B4-BE49-F238E27FC236}">
                      <a16:creationId xmlns:a16="http://schemas.microsoft.com/office/drawing/2014/main" id="{1F0127B1-60A7-6BAE-3E23-4D4C5BA6A53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86527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82" name="Picture 81">
                  <a:extLst>
                    <a:ext uri="{FF2B5EF4-FFF2-40B4-BE49-F238E27FC236}">
                      <a16:creationId xmlns:a16="http://schemas.microsoft.com/office/drawing/2014/main" id="{120D2B05-8CDA-D1D4-A87D-AF287FBFACB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67848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83" name="Picture 82">
                  <a:extLst>
                    <a:ext uri="{FF2B5EF4-FFF2-40B4-BE49-F238E27FC236}">
                      <a16:creationId xmlns:a16="http://schemas.microsoft.com/office/drawing/2014/main" id="{405528EF-2AE6-95B8-3EDC-4F49E85B306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49168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84" name="Picture 83">
                  <a:extLst>
                    <a:ext uri="{FF2B5EF4-FFF2-40B4-BE49-F238E27FC236}">
                      <a16:creationId xmlns:a16="http://schemas.microsoft.com/office/drawing/2014/main" id="{93973CB7-D79C-6E48-AA08-8F6EAE0084D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230489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85" name="Picture 84">
                  <a:extLst>
                    <a:ext uri="{FF2B5EF4-FFF2-40B4-BE49-F238E27FC236}">
                      <a16:creationId xmlns:a16="http://schemas.microsoft.com/office/drawing/2014/main" id="{96631F34-9202-D673-DF55-D5D262AF072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311809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86" name="Picture 85">
                  <a:extLst>
                    <a:ext uri="{FF2B5EF4-FFF2-40B4-BE49-F238E27FC236}">
                      <a16:creationId xmlns:a16="http://schemas.microsoft.com/office/drawing/2014/main" id="{9AEB0750-2838-CB75-A9E2-BBE73D535D2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393130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87" name="Picture 86">
                  <a:extLst>
                    <a:ext uri="{FF2B5EF4-FFF2-40B4-BE49-F238E27FC236}">
                      <a16:creationId xmlns:a16="http://schemas.microsoft.com/office/drawing/2014/main" id="{6E72F8C4-9061-C90D-944E-FF555AA2580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4744506" y="9899374"/>
                  <a:ext cx="1005655" cy="1113178"/>
                </a:xfrm>
                <a:prstGeom prst="rect">
                  <a:avLst/>
                </a:prstGeom>
              </p:spPr>
            </p:pic>
          </p:grpSp>
          <p:grpSp>
            <p:nvGrpSpPr>
              <p:cNvPr id="97" name="Group 96">
                <a:extLst>
                  <a:ext uri="{FF2B5EF4-FFF2-40B4-BE49-F238E27FC236}">
                    <a16:creationId xmlns:a16="http://schemas.microsoft.com/office/drawing/2014/main" id="{72E6D407-7B28-9A03-96F3-9107FF2DED0E}"/>
                  </a:ext>
                </a:extLst>
              </p:cNvPr>
              <p:cNvGrpSpPr/>
              <p:nvPr/>
            </p:nvGrpSpPr>
            <p:grpSpPr>
              <a:xfrm>
                <a:off x="5533302" y="8847519"/>
                <a:ext cx="4001321" cy="664993"/>
                <a:chOff x="9052070" y="9899374"/>
                <a:chExt cx="6698091" cy="1113178"/>
              </a:xfrm>
            </p:grpSpPr>
            <p:pic>
              <p:nvPicPr>
                <p:cNvPr id="98" name="Picture 97">
                  <a:extLst>
                    <a:ext uri="{FF2B5EF4-FFF2-40B4-BE49-F238E27FC236}">
                      <a16:creationId xmlns:a16="http://schemas.microsoft.com/office/drawing/2014/main" id="{B06C16C0-E01F-B45B-D5F0-44D3ECA33D9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05207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99" name="Picture 98">
                  <a:extLst>
                    <a:ext uri="{FF2B5EF4-FFF2-40B4-BE49-F238E27FC236}">
                      <a16:creationId xmlns:a16="http://schemas.microsoft.com/office/drawing/2014/main" id="{26B259BB-9C42-42F4-A35C-D0A41959DDC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86527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00" name="Picture 99">
                  <a:extLst>
                    <a:ext uri="{FF2B5EF4-FFF2-40B4-BE49-F238E27FC236}">
                      <a16:creationId xmlns:a16="http://schemas.microsoft.com/office/drawing/2014/main" id="{49977819-2CA8-7415-630B-2D5AD5E3602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67848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01" name="Picture 100">
                  <a:extLst>
                    <a:ext uri="{FF2B5EF4-FFF2-40B4-BE49-F238E27FC236}">
                      <a16:creationId xmlns:a16="http://schemas.microsoft.com/office/drawing/2014/main" id="{49683FD0-2021-2350-CFE3-DD7532BF9FA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49168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02" name="Picture 101">
                  <a:extLst>
                    <a:ext uri="{FF2B5EF4-FFF2-40B4-BE49-F238E27FC236}">
                      <a16:creationId xmlns:a16="http://schemas.microsoft.com/office/drawing/2014/main" id="{B942FEA2-D7CE-DAB4-EF34-9EC603594BC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230489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03" name="Picture 102">
                  <a:extLst>
                    <a:ext uri="{FF2B5EF4-FFF2-40B4-BE49-F238E27FC236}">
                      <a16:creationId xmlns:a16="http://schemas.microsoft.com/office/drawing/2014/main" id="{1501F9FE-4F2B-4A12-E3AD-1FA9F21847C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311809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04" name="Picture 103">
                  <a:extLst>
                    <a:ext uri="{FF2B5EF4-FFF2-40B4-BE49-F238E27FC236}">
                      <a16:creationId xmlns:a16="http://schemas.microsoft.com/office/drawing/2014/main" id="{B01B31BF-76B5-C2DE-6A53-DC5650644F8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393130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05" name="Picture 104">
                  <a:extLst>
                    <a:ext uri="{FF2B5EF4-FFF2-40B4-BE49-F238E27FC236}">
                      <a16:creationId xmlns:a16="http://schemas.microsoft.com/office/drawing/2014/main" id="{4E0D8639-9840-77BA-00B6-D2017CCDA7D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4744506" y="9899374"/>
                  <a:ext cx="1005655" cy="1113178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F27A180E-C652-BDD3-0CCE-C9D1D65BE086}"/>
                </a:ext>
              </a:extLst>
            </p:cNvPr>
            <p:cNvGrpSpPr/>
            <p:nvPr/>
          </p:nvGrpSpPr>
          <p:grpSpPr>
            <a:xfrm>
              <a:off x="9464212" y="8847519"/>
              <a:ext cx="4008263" cy="4263980"/>
              <a:chOff x="5533302" y="8847519"/>
              <a:chExt cx="4008263" cy="4263980"/>
            </a:xfrm>
          </p:grpSpPr>
          <p:grpSp>
            <p:nvGrpSpPr>
              <p:cNvPr id="117" name="Group 116">
                <a:extLst>
                  <a:ext uri="{FF2B5EF4-FFF2-40B4-BE49-F238E27FC236}">
                    <a16:creationId xmlns:a16="http://schemas.microsoft.com/office/drawing/2014/main" id="{9F638625-9F28-D2B5-D4A4-6750A3274A19}"/>
                  </a:ext>
                </a:extLst>
              </p:cNvPr>
              <p:cNvGrpSpPr/>
              <p:nvPr/>
            </p:nvGrpSpPr>
            <p:grpSpPr>
              <a:xfrm>
                <a:off x="5540244" y="9567316"/>
                <a:ext cx="4001321" cy="664993"/>
                <a:chOff x="9052070" y="9899374"/>
                <a:chExt cx="6698091" cy="1113178"/>
              </a:xfrm>
            </p:grpSpPr>
            <p:pic>
              <p:nvPicPr>
                <p:cNvPr id="163" name="Picture 162">
                  <a:extLst>
                    <a:ext uri="{FF2B5EF4-FFF2-40B4-BE49-F238E27FC236}">
                      <a16:creationId xmlns:a16="http://schemas.microsoft.com/office/drawing/2014/main" id="{A7DCDCFF-66B8-6C1A-48B4-46D7D456D5A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05207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64" name="Picture 163">
                  <a:extLst>
                    <a:ext uri="{FF2B5EF4-FFF2-40B4-BE49-F238E27FC236}">
                      <a16:creationId xmlns:a16="http://schemas.microsoft.com/office/drawing/2014/main" id="{D4646E8A-BF07-6160-117F-2FCE1C0CF43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86527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65" name="Picture 164">
                  <a:extLst>
                    <a:ext uri="{FF2B5EF4-FFF2-40B4-BE49-F238E27FC236}">
                      <a16:creationId xmlns:a16="http://schemas.microsoft.com/office/drawing/2014/main" id="{E9619DEF-C1A3-9CBD-BC33-7CB6B62AE3B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67848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66" name="Picture 165">
                  <a:extLst>
                    <a:ext uri="{FF2B5EF4-FFF2-40B4-BE49-F238E27FC236}">
                      <a16:creationId xmlns:a16="http://schemas.microsoft.com/office/drawing/2014/main" id="{3EE5F5DB-961A-5993-6A21-41AC8D6CD34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49168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67" name="Picture 166">
                  <a:extLst>
                    <a:ext uri="{FF2B5EF4-FFF2-40B4-BE49-F238E27FC236}">
                      <a16:creationId xmlns:a16="http://schemas.microsoft.com/office/drawing/2014/main" id="{1B3A1825-ABFB-58B1-5B9B-CDAE373CEF5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230489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68" name="Picture 167">
                  <a:extLst>
                    <a:ext uri="{FF2B5EF4-FFF2-40B4-BE49-F238E27FC236}">
                      <a16:creationId xmlns:a16="http://schemas.microsoft.com/office/drawing/2014/main" id="{4F386062-9C3A-ACB2-3F95-A2D1F4F3BBA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311809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69" name="Picture 168">
                  <a:extLst>
                    <a:ext uri="{FF2B5EF4-FFF2-40B4-BE49-F238E27FC236}">
                      <a16:creationId xmlns:a16="http://schemas.microsoft.com/office/drawing/2014/main" id="{E210B511-E480-55F9-9E93-6EB69D06513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393130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70" name="Picture 169">
                  <a:extLst>
                    <a:ext uri="{FF2B5EF4-FFF2-40B4-BE49-F238E27FC236}">
                      <a16:creationId xmlns:a16="http://schemas.microsoft.com/office/drawing/2014/main" id="{26E6AA75-77CD-E4E3-0A1B-A2FF73E0796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4744506" y="9899374"/>
                  <a:ext cx="1005655" cy="1113178"/>
                </a:xfrm>
                <a:prstGeom prst="rect">
                  <a:avLst/>
                </a:prstGeom>
              </p:spPr>
            </p:pic>
          </p:grpSp>
          <p:grpSp>
            <p:nvGrpSpPr>
              <p:cNvPr id="118" name="Group 117">
                <a:extLst>
                  <a:ext uri="{FF2B5EF4-FFF2-40B4-BE49-F238E27FC236}">
                    <a16:creationId xmlns:a16="http://schemas.microsoft.com/office/drawing/2014/main" id="{77651A95-B28C-97CD-72F1-B1715F606A0A}"/>
                  </a:ext>
                </a:extLst>
              </p:cNvPr>
              <p:cNvGrpSpPr/>
              <p:nvPr/>
            </p:nvGrpSpPr>
            <p:grpSpPr>
              <a:xfrm>
                <a:off x="5540244" y="10287113"/>
                <a:ext cx="4001321" cy="664993"/>
                <a:chOff x="9052070" y="9899374"/>
                <a:chExt cx="6698091" cy="1113178"/>
              </a:xfrm>
            </p:grpSpPr>
            <p:pic>
              <p:nvPicPr>
                <p:cNvPr id="155" name="Picture 154">
                  <a:extLst>
                    <a:ext uri="{FF2B5EF4-FFF2-40B4-BE49-F238E27FC236}">
                      <a16:creationId xmlns:a16="http://schemas.microsoft.com/office/drawing/2014/main" id="{87857233-695B-F486-673A-3C6BAD9149F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05207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56" name="Picture 155">
                  <a:extLst>
                    <a:ext uri="{FF2B5EF4-FFF2-40B4-BE49-F238E27FC236}">
                      <a16:creationId xmlns:a16="http://schemas.microsoft.com/office/drawing/2014/main" id="{32EDB2D0-953D-D952-58CF-AA3531312C9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86527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57" name="Picture 156">
                  <a:extLst>
                    <a:ext uri="{FF2B5EF4-FFF2-40B4-BE49-F238E27FC236}">
                      <a16:creationId xmlns:a16="http://schemas.microsoft.com/office/drawing/2014/main" id="{23D8291A-BA40-6F1A-C0B8-308335545CD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67848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58" name="Picture 157">
                  <a:extLst>
                    <a:ext uri="{FF2B5EF4-FFF2-40B4-BE49-F238E27FC236}">
                      <a16:creationId xmlns:a16="http://schemas.microsoft.com/office/drawing/2014/main" id="{8BF4C26E-8924-BF5D-1312-8861AC0FF23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49168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59" name="Picture 158">
                  <a:extLst>
                    <a:ext uri="{FF2B5EF4-FFF2-40B4-BE49-F238E27FC236}">
                      <a16:creationId xmlns:a16="http://schemas.microsoft.com/office/drawing/2014/main" id="{5F8C9303-232A-3C84-1825-719914B2742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230489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60" name="Picture 159">
                  <a:extLst>
                    <a:ext uri="{FF2B5EF4-FFF2-40B4-BE49-F238E27FC236}">
                      <a16:creationId xmlns:a16="http://schemas.microsoft.com/office/drawing/2014/main" id="{963A573E-D49B-BF60-9BC6-810ECB9BF58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311809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61" name="Picture 160">
                  <a:extLst>
                    <a:ext uri="{FF2B5EF4-FFF2-40B4-BE49-F238E27FC236}">
                      <a16:creationId xmlns:a16="http://schemas.microsoft.com/office/drawing/2014/main" id="{D97DB665-0B8D-EC7E-6288-8DA25CCC64B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393130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62" name="Picture 161">
                  <a:extLst>
                    <a:ext uri="{FF2B5EF4-FFF2-40B4-BE49-F238E27FC236}">
                      <a16:creationId xmlns:a16="http://schemas.microsoft.com/office/drawing/2014/main" id="{F27F590C-AFD7-CC71-3C33-AEF325E1A89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4744506" y="9899374"/>
                  <a:ext cx="1005655" cy="1113178"/>
                </a:xfrm>
                <a:prstGeom prst="rect">
                  <a:avLst/>
                </a:prstGeom>
              </p:spPr>
            </p:pic>
          </p:grpSp>
          <p:grpSp>
            <p:nvGrpSpPr>
              <p:cNvPr id="119" name="Group 118">
                <a:extLst>
                  <a:ext uri="{FF2B5EF4-FFF2-40B4-BE49-F238E27FC236}">
                    <a16:creationId xmlns:a16="http://schemas.microsoft.com/office/drawing/2014/main" id="{5767DE98-6C8D-71C8-6CC2-3C3F5ADED666}"/>
                  </a:ext>
                </a:extLst>
              </p:cNvPr>
              <p:cNvGrpSpPr/>
              <p:nvPr/>
            </p:nvGrpSpPr>
            <p:grpSpPr>
              <a:xfrm>
                <a:off x="5533302" y="11006910"/>
                <a:ext cx="4001321" cy="664993"/>
                <a:chOff x="9052070" y="9899374"/>
                <a:chExt cx="6698091" cy="1113178"/>
              </a:xfrm>
            </p:grpSpPr>
            <p:pic>
              <p:nvPicPr>
                <p:cNvPr id="147" name="Picture 146">
                  <a:extLst>
                    <a:ext uri="{FF2B5EF4-FFF2-40B4-BE49-F238E27FC236}">
                      <a16:creationId xmlns:a16="http://schemas.microsoft.com/office/drawing/2014/main" id="{A13CAB96-12AA-AE28-2C43-47AD8815C02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05207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48" name="Picture 147">
                  <a:extLst>
                    <a:ext uri="{FF2B5EF4-FFF2-40B4-BE49-F238E27FC236}">
                      <a16:creationId xmlns:a16="http://schemas.microsoft.com/office/drawing/2014/main" id="{DCC61055-85E9-B044-9854-0B4744AD2CE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86527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49" name="Picture 148">
                  <a:extLst>
                    <a:ext uri="{FF2B5EF4-FFF2-40B4-BE49-F238E27FC236}">
                      <a16:creationId xmlns:a16="http://schemas.microsoft.com/office/drawing/2014/main" id="{2FB5B353-F592-904C-FD91-63DC3F2D091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67848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50" name="Picture 149">
                  <a:extLst>
                    <a:ext uri="{FF2B5EF4-FFF2-40B4-BE49-F238E27FC236}">
                      <a16:creationId xmlns:a16="http://schemas.microsoft.com/office/drawing/2014/main" id="{33242E44-4E5C-F411-6F42-18A5AA15875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49168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51" name="Picture 150">
                  <a:extLst>
                    <a:ext uri="{FF2B5EF4-FFF2-40B4-BE49-F238E27FC236}">
                      <a16:creationId xmlns:a16="http://schemas.microsoft.com/office/drawing/2014/main" id="{C054F082-F394-8EFA-B59B-641BD4834B0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230489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52" name="Picture 151">
                  <a:extLst>
                    <a:ext uri="{FF2B5EF4-FFF2-40B4-BE49-F238E27FC236}">
                      <a16:creationId xmlns:a16="http://schemas.microsoft.com/office/drawing/2014/main" id="{AB54639E-906E-61B2-BE86-E94D2F3D2DA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311809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53" name="Picture 152">
                  <a:extLst>
                    <a:ext uri="{FF2B5EF4-FFF2-40B4-BE49-F238E27FC236}">
                      <a16:creationId xmlns:a16="http://schemas.microsoft.com/office/drawing/2014/main" id="{5699ACDA-C0B9-1C32-6F63-2C7DFE65343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393130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54" name="Picture 153">
                  <a:extLst>
                    <a:ext uri="{FF2B5EF4-FFF2-40B4-BE49-F238E27FC236}">
                      <a16:creationId xmlns:a16="http://schemas.microsoft.com/office/drawing/2014/main" id="{25F4CF9F-E795-8A1F-A808-FA986720295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4744506" y="9899374"/>
                  <a:ext cx="1005655" cy="1113178"/>
                </a:xfrm>
                <a:prstGeom prst="rect">
                  <a:avLst/>
                </a:prstGeom>
              </p:spPr>
            </p:pic>
          </p:grpSp>
          <p:grpSp>
            <p:nvGrpSpPr>
              <p:cNvPr id="120" name="Group 119">
                <a:extLst>
                  <a:ext uri="{FF2B5EF4-FFF2-40B4-BE49-F238E27FC236}">
                    <a16:creationId xmlns:a16="http://schemas.microsoft.com/office/drawing/2014/main" id="{3A75D951-3599-CEBD-B3F1-4A44B72B245F}"/>
                  </a:ext>
                </a:extLst>
              </p:cNvPr>
              <p:cNvGrpSpPr/>
              <p:nvPr/>
            </p:nvGrpSpPr>
            <p:grpSpPr>
              <a:xfrm>
                <a:off x="5533302" y="11726707"/>
                <a:ext cx="4001321" cy="664993"/>
                <a:chOff x="9052070" y="9899374"/>
                <a:chExt cx="6698091" cy="1113178"/>
              </a:xfrm>
            </p:grpSpPr>
            <p:pic>
              <p:nvPicPr>
                <p:cNvPr id="139" name="Picture 138">
                  <a:extLst>
                    <a:ext uri="{FF2B5EF4-FFF2-40B4-BE49-F238E27FC236}">
                      <a16:creationId xmlns:a16="http://schemas.microsoft.com/office/drawing/2014/main" id="{664652D1-0574-988C-454C-AEACADCE887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05207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40" name="Picture 139">
                  <a:extLst>
                    <a:ext uri="{FF2B5EF4-FFF2-40B4-BE49-F238E27FC236}">
                      <a16:creationId xmlns:a16="http://schemas.microsoft.com/office/drawing/2014/main" id="{DE6EE03A-FD8E-BF1E-6D2A-27CF11BFF12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86527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41" name="Picture 140">
                  <a:extLst>
                    <a:ext uri="{FF2B5EF4-FFF2-40B4-BE49-F238E27FC236}">
                      <a16:creationId xmlns:a16="http://schemas.microsoft.com/office/drawing/2014/main" id="{61105F37-1E19-4A82-77F8-45451FB16D7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67848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42" name="Picture 141">
                  <a:extLst>
                    <a:ext uri="{FF2B5EF4-FFF2-40B4-BE49-F238E27FC236}">
                      <a16:creationId xmlns:a16="http://schemas.microsoft.com/office/drawing/2014/main" id="{63C3E7DD-C59A-4F40-2D00-07BF1EB9FE8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49168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43" name="Picture 142">
                  <a:extLst>
                    <a:ext uri="{FF2B5EF4-FFF2-40B4-BE49-F238E27FC236}">
                      <a16:creationId xmlns:a16="http://schemas.microsoft.com/office/drawing/2014/main" id="{649B242C-79E3-4F5D-0503-E3949C913CD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230489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44" name="Picture 143">
                  <a:extLst>
                    <a:ext uri="{FF2B5EF4-FFF2-40B4-BE49-F238E27FC236}">
                      <a16:creationId xmlns:a16="http://schemas.microsoft.com/office/drawing/2014/main" id="{FC61D899-148D-C246-0D03-CFE55EC7883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311809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45" name="Picture 144">
                  <a:extLst>
                    <a:ext uri="{FF2B5EF4-FFF2-40B4-BE49-F238E27FC236}">
                      <a16:creationId xmlns:a16="http://schemas.microsoft.com/office/drawing/2014/main" id="{F3D6B229-F056-3E68-B455-E9E35DD857E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393130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46" name="Picture 145">
                  <a:extLst>
                    <a:ext uri="{FF2B5EF4-FFF2-40B4-BE49-F238E27FC236}">
                      <a16:creationId xmlns:a16="http://schemas.microsoft.com/office/drawing/2014/main" id="{987C5491-BA04-A849-1D04-5E47B9E4A96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4744506" y="9899374"/>
                  <a:ext cx="1005655" cy="1113178"/>
                </a:xfrm>
                <a:prstGeom prst="rect">
                  <a:avLst/>
                </a:prstGeom>
              </p:spPr>
            </p:pic>
          </p:grpSp>
          <p:grpSp>
            <p:nvGrpSpPr>
              <p:cNvPr id="121" name="Group 120">
                <a:extLst>
                  <a:ext uri="{FF2B5EF4-FFF2-40B4-BE49-F238E27FC236}">
                    <a16:creationId xmlns:a16="http://schemas.microsoft.com/office/drawing/2014/main" id="{02CA6C6C-126B-BCE7-DF98-D3EB685F5182}"/>
                  </a:ext>
                </a:extLst>
              </p:cNvPr>
              <p:cNvGrpSpPr/>
              <p:nvPr/>
            </p:nvGrpSpPr>
            <p:grpSpPr>
              <a:xfrm>
                <a:off x="5540244" y="12446506"/>
                <a:ext cx="4001321" cy="664993"/>
                <a:chOff x="9052070" y="9899374"/>
                <a:chExt cx="6698091" cy="1113178"/>
              </a:xfrm>
            </p:grpSpPr>
            <p:pic>
              <p:nvPicPr>
                <p:cNvPr id="131" name="Picture 130">
                  <a:extLst>
                    <a:ext uri="{FF2B5EF4-FFF2-40B4-BE49-F238E27FC236}">
                      <a16:creationId xmlns:a16="http://schemas.microsoft.com/office/drawing/2014/main" id="{2FC405AD-9761-D11B-6581-B6C164A5682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05207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32" name="Picture 131">
                  <a:extLst>
                    <a:ext uri="{FF2B5EF4-FFF2-40B4-BE49-F238E27FC236}">
                      <a16:creationId xmlns:a16="http://schemas.microsoft.com/office/drawing/2014/main" id="{A4C1CD96-06D2-401C-2CB0-9E124C371CC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86527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33" name="Picture 132">
                  <a:extLst>
                    <a:ext uri="{FF2B5EF4-FFF2-40B4-BE49-F238E27FC236}">
                      <a16:creationId xmlns:a16="http://schemas.microsoft.com/office/drawing/2014/main" id="{79EA0D8F-3F1F-8617-E203-D97C07578C6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67848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34" name="Picture 133">
                  <a:extLst>
                    <a:ext uri="{FF2B5EF4-FFF2-40B4-BE49-F238E27FC236}">
                      <a16:creationId xmlns:a16="http://schemas.microsoft.com/office/drawing/2014/main" id="{B9AC9FEE-B1E2-92D4-6B99-B91C134C67D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49168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35" name="Picture 134">
                  <a:extLst>
                    <a:ext uri="{FF2B5EF4-FFF2-40B4-BE49-F238E27FC236}">
                      <a16:creationId xmlns:a16="http://schemas.microsoft.com/office/drawing/2014/main" id="{D3D41D6D-1546-F795-2E17-3599AB7539C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230489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36" name="Picture 135">
                  <a:extLst>
                    <a:ext uri="{FF2B5EF4-FFF2-40B4-BE49-F238E27FC236}">
                      <a16:creationId xmlns:a16="http://schemas.microsoft.com/office/drawing/2014/main" id="{2E43A233-6088-3341-0E2B-290B43CB6C6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311809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37" name="Picture 136">
                  <a:extLst>
                    <a:ext uri="{FF2B5EF4-FFF2-40B4-BE49-F238E27FC236}">
                      <a16:creationId xmlns:a16="http://schemas.microsoft.com/office/drawing/2014/main" id="{4F2B7F3B-1342-1B7B-252F-CB74C4E692C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393130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38" name="Picture 137">
                  <a:extLst>
                    <a:ext uri="{FF2B5EF4-FFF2-40B4-BE49-F238E27FC236}">
                      <a16:creationId xmlns:a16="http://schemas.microsoft.com/office/drawing/2014/main" id="{3735CE30-E857-7082-D9EA-E23EC4C2479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4744506" y="9899374"/>
                  <a:ext cx="1005655" cy="1113178"/>
                </a:xfrm>
                <a:prstGeom prst="rect">
                  <a:avLst/>
                </a:prstGeom>
              </p:spPr>
            </p:pic>
          </p:grpSp>
          <p:grpSp>
            <p:nvGrpSpPr>
              <p:cNvPr id="122" name="Group 121">
                <a:extLst>
                  <a:ext uri="{FF2B5EF4-FFF2-40B4-BE49-F238E27FC236}">
                    <a16:creationId xmlns:a16="http://schemas.microsoft.com/office/drawing/2014/main" id="{6FA4B674-524C-ACCF-8C04-2986D0FF17D5}"/>
                  </a:ext>
                </a:extLst>
              </p:cNvPr>
              <p:cNvGrpSpPr/>
              <p:nvPr/>
            </p:nvGrpSpPr>
            <p:grpSpPr>
              <a:xfrm>
                <a:off x="5533302" y="8847519"/>
                <a:ext cx="4001321" cy="664993"/>
                <a:chOff x="9052070" y="9899374"/>
                <a:chExt cx="6698091" cy="1113178"/>
              </a:xfrm>
            </p:grpSpPr>
            <p:pic>
              <p:nvPicPr>
                <p:cNvPr id="123" name="Picture 122">
                  <a:extLst>
                    <a:ext uri="{FF2B5EF4-FFF2-40B4-BE49-F238E27FC236}">
                      <a16:creationId xmlns:a16="http://schemas.microsoft.com/office/drawing/2014/main" id="{A0443320-A71C-FDB6-B514-AC13520E412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05207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24" name="Picture 123">
                  <a:extLst>
                    <a:ext uri="{FF2B5EF4-FFF2-40B4-BE49-F238E27FC236}">
                      <a16:creationId xmlns:a16="http://schemas.microsoft.com/office/drawing/2014/main" id="{B448C6EB-4D95-ADE2-32DB-2BBFB38D24A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86527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25" name="Picture 124">
                  <a:extLst>
                    <a:ext uri="{FF2B5EF4-FFF2-40B4-BE49-F238E27FC236}">
                      <a16:creationId xmlns:a16="http://schemas.microsoft.com/office/drawing/2014/main" id="{7900F7AA-CE40-FD1C-44C1-E661918D98E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67848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26" name="Picture 125">
                  <a:extLst>
                    <a:ext uri="{FF2B5EF4-FFF2-40B4-BE49-F238E27FC236}">
                      <a16:creationId xmlns:a16="http://schemas.microsoft.com/office/drawing/2014/main" id="{59E0230D-D30B-8241-A7C2-1770D3CBF61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49168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27" name="Picture 126">
                  <a:extLst>
                    <a:ext uri="{FF2B5EF4-FFF2-40B4-BE49-F238E27FC236}">
                      <a16:creationId xmlns:a16="http://schemas.microsoft.com/office/drawing/2014/main" id="{72B95A05-2672-1330-4627-87199BBBF6B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230489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28" name="Picture 127">
                  <a:extLst>
                    <a:ext uri="{FF2B5EF4-FFF2-40B4-BE49-F238E27FC236}">
                      <a16:creationId xmlns:a16="http://schemas.microsoft.com/office/drawing/2014/main" id="{2A8BCBEC-BF9A-90FF-E6FE-BF88A15BF6D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311809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29" name="Picture 128">
                  <a:extLst>
                    <a:ext uri="{FF2B5EF4-FFF2-40B4-BE49-F238E27FC236}">
                      <a16:creationId xmlns:a16="http://schemas.microsoft.com/office/drawing/2014/main" id="{52C2CFB3-10E1-EF6D-EF6B-FD643D3D3D3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393130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30" name="Picture 129">
                  <a:extLst>
                    <a:ext uri="{FF2B5EF4-FFF2-40B4-BE49-F238E27FC236}">
                      <a16:creationId xmlns:a16="http://schemas.microsoft.com/office/drawing/2014/main" id="{AE458AA0-768B-1A50-AA9E-929E6AF84ED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4744506" y="9899374"/>
                  <a:ext cx="1005655" cy="1113178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182" name="TextBox 181">
            <a:extLst>
              <a:ext uri="{FF2B5EF4-FFF2-40B4-BE49-F238E27FC236}">
                <a16:creationId xmlns:a16="http://schemas.microsoft.com/office/drawing/2014/main" id="{053C1B3A-2275-7E1D-2A13-09F1287367F0}"/>
              </a:ext>
            </a:extLst>
          </p:cNvPr>
          <p:cNvSpPr txBox="1"/>
          <p:nvPr/>
        </p:nvSpPr>
        <p:spPr>
          <a:xfrm>
            <a:off x="736600" y="11610155"/>
            <a:ext cx="12200467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629810" algn="ctr"/>
            <a:r>
              <a:rPr lang="en-US" sz="2000" dirty="0">
                <a:solidFill>
                  <a:schemeClr val="bg1"/>
                </a:solidFill>
                <a:cs typeface="Open Sans Light"/>
              </a:rPr>
              <a:t>Systems return to full health 95% faster than traditional RAID and with minimal performance impact.</a:t>
            </a:r>
          </a:p>
        </p:txBody>
      </p:sp>
      <p:grpSp>
        <p:nvGrpSpPr>
          <p:cNvPr id="189" name="Group 188">
            <a:extLst>
              <a:ext uri="{FF2B5EF4-FFF2-40B4-BE49-F238E27FC236}">
                <a16:creationId xmlns:a16="http://schemas.microsoft.com/office/drawing/2014/main" id="{9B1DCCEE-9E80-A440-1A3B-B29A95D6234D}"/>
              </a:ext>
            </a:extLst>
          </p:cNvPr>
          <p:cNvGrpSpPr/>
          <p:nvPr/>
        </p:nvGrpSpPr>
        <p:grpSpPr>
          <a:xfrm>
            <a:off x="14304754" y="6169981"/>
            <a:ext cx="7925289" cy="6492470"/>
            <a:chOff x="14304754" y="6169981"/>
            <a:chExt cx="7925289" cy="6492470"/>
          </a:xfrm>
        </p:grpSpPr>
        <p:sp>
          <p:nvSpPr>
            <p:cNvPr id="176" name="Rectangle 175">
              <a:extLst>
                <a:ext uri="{FF2B5EF4-FFF2-40B4-BE49-F238E27FC236}">
                  <a16:creationId xmlns:a16="http://schemas.microsoft.com/office/drawing/2014/main" id="{6343AF4D-F92A-BFAC-0445-55FEE0FD5E45}"/>
                </a:ext>
              </a:extLst>
            </p:cNvPr>
            <p:cNvSpPr/>
            <p:nvPr/>
          </p:nvSpPr>
          <p:spPr>
            <a:xfrm>
              <a:off x="14304754" y="8398471"/>
              <a:ext cx="7925289" cy="4263980"/>
            </a:xfrm>
            <a:prstGeom prst="rect">
              <a:avLst/>
            </a:prstGeom>
            <a:solidFill>
              <a:schemeClr val="accent2">
                <a:alpha val="61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4000" b="1" dirty="0">
                  <a:solidFill>
                    <a:schemeClr val="bg1"/>
                  </a:solidFill>
                  <a:latin typeface="Montserrat Black" panose="00000A00000000000000" pitchFamily="2" charset="0"/>
                </a:rPr>
                <a:t>ADAPT 16+2 </a:t>
              </a:r>
            </a:p>
            <a:p>
              <a:pPr algn="ctr"/>
              <a:r>
                <a:rPr lang="en-US" sz="4000" b="1" dirty="0">
                  <a:solidFill>
                    <a:schemeClr val="bg1"/>
                  </a:solidFill>
                  <a:latin typeface="Montserrat Black" panose="00000A00000000000000" pitchFamily="2" charset="0"/>
                </a:rPr>
                <a:t>Erasure Coding</a:t>
              </a:r>
            </a:p>
          </p:txBody>
        </p:sp>
        <p:cxnSp>
          <p:nvCxnSpPr>
            <p:cNvPr id="184" name="Straight Connector 183">
              <a:extLst>
                <a:ext uri="{FF2B5EF4-FFF2-40B4-BE49-F238E27FC236}">
                  <a16:creationId xmlns:a16="http://schemas.microsoft.com/office/drawing/2014/main" id="{73AD0376-DEDB-4841-B41A-4BF33066DB1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04754" y="6169981"/>
              <a:ext cx="964646" cy="2228490"/>
            </a:xfrm>
            <a:prstGeom prst="line">
              <a:avLst/>
            </a:prstGeom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86" name="Straight Connector 185">
              <a:extLst>
                <a:ext uri="{FF2B5EF4-FFF2-40B4-BE49-F238E27FC236}">
                  <a16:creationId xmlns:a16="http://schemas.microsoft.com/office/drawing/2014/main" id="{A9077D34-0CDB-A973-B47B-90105857740D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0965015" y="6169981"/>
              <a:ext cx="1265028" cy="2228490"/>
            </a:xfrm>
            <a:prstGeom prst="line">
              <a:avLst/>
            </a:prstGeom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</p:grpSp>
      <p:pic>
        <p:nvPicPr>
          <p:cNvPr id="5" name="Picture 4">
            <a:extLst>
              <a:ext uri="{FF2B5EF4-FFF2-40B4-BE49-F238E27FC236}">
                <a16:creationId xmlns:a16="http://schemas.microsoft.com/office/drawing/2014/main" id="{B790A876-B203-9A1C-4B0C-D91B30B411D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13535" y="1773348"/>
            <a:ext cx="6322311" cy="632231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706998C-851D-27D4-ECFA-0087C01251D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360520" y="4606112"/>
            <a:ext cx="3738553" cy="535780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AE344BCA-99B1-BFF2-C43A-D1D37A143C0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74280" y="6180672"/>
            <a:ext cx="11134725" cy="5229225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130043CC-F2D2-80BD-EFFB-4E2ED5C9BF0B}"/>
              </a:ext>
            </a:extLst>
          </p:cNvPr>
          <p:cNvSpPr/>
          <p:nvPr/>
        </p:nvSpPr>
        <p:spPr>
          <a:xfrm>
            <a:off x="19318514" y="12685486"/>
            <a:ext cx="4412343" cy="856343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Open Sans Light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F0BD4E32-2BDB-D06A-40CC-B23642AA3E58}"/>
              </a:ext>
            </a:extLst>
          </p:cNvPr>
          <p:cNvSpPr/>
          <p:nvPr/>
        </p:nvSpPr>
        <p:spPr>
          <a:xfrm>
            <a:off x="10722634" y="2027209"/>
            <a:ext cx="2380892" cy="733246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800"/>
            <a:endParaRPr lang="en-US" dirty="0">
              <a:solidFill>
                <a:srgbClr val="FFFFFF"/>
              </a:solidFill>
              <a:latin typeface="Open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2873249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2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222897-2009-B3FA-F7AA-8B6257E8FDD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A New Generation of Storage Virtualiza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6850C0-E347-BEAD-2CDD-55FE30BA174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76214" y="3356178"/>
            <a:ext cx="12412316" cy="2714422"/>
          </a:xfrm>
        </p:spPr>
        <p:txBody>
          <a:bodyPr/>
          <a:lstStyle/>
          <a:p>
            <a:r>
              <a:rPr lang="en-US" dirty="0"/>
              <a:t>To reduce maintenance costs, we need the system to be able to repair bad media automatically.</a:t>
            </a:r>
          </a:p>
        </p:txBody>
      </p:sp>
      <p:grpSp>
        <p:nvGrpSpPr>
          <p:cNvPr id="171" name="Group 170">
            <a:extLst>
              <a:ext uri="{FF2B5EF4-FFF2-40B4-BE49-F238E27FC236}">
                <a16:creationId xmlns:a16="http://schemas.microsoft.com/office/drawing/2014/main" id="{F68F18E1-5872-324D-D583-B9B259A7C921}"/>
              </a:ext>
            </a:extLst>
          </p:cNvPr>
          <p:cNvGrpSpPr/>
          <p:nvPr/>
        </p:nvGrpSpPr>
        <p:grpSpPr>
          <a:xfrm>
            <a:off x="14297812" y="8398471"/>
            <a:ext cx="7939173" cy="4263980"/>
            <a:chOff x="5533302" y="8847519"/>
            <a:chExt cx="7939173" cy="4263980"/>
          </a:xfrm>
        </p:grpSpPr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DBAA7D58-2523-5270-62E4-7E8F88B5FFB5}"/>
                </a:ext>
              </a:extLst>
            </p:cNvPr>
            <p:cNvGrpSpPr/>
            <p:nvPr/>
          </p:nvGrpSpPr>
          <p:grpSpPr>
            <a:xfrm>
              <a:off x="5533302" y="8847519"/>
              <a:ext cx="4008264" cy="4263980"/>
              <a:chOff x="5533302" y="8847519"/>
              <a:chExt cx="4008264" cy="4263980"/>
            </a:xfrm>
          </p:grpSpPr>
          <p:grpSp>
            <p:nvGrpSpPr>
              <p:cNvPr id="15" name="Group 14">
                <a:extLst>
                  <a:ext uri="{FF2B5EF4-FFF2-40B4-BE49-F238E27FC236}">
                    <a16:creationId xmlns:a16="http://schemas.microsoft.com/office/drawing/2014/main" id="{9E9499BE-8367-81D1-120C-3B333F4E7C28}"/>
                  </a:ext>
                </a:extLst>
              </p:cNvPr>
              <p:cNvGrpSpPr/>
              <p:nvPr/>
            </p:nvGrpSpPr>
            <p:grpSpPr>
              <a:xfrm>
                <a:off x="5540244" y="9567316"/>
                <a:ext cx="4001321" cy="664993"/>
                <a:chOff x="9052070" y="9899374"/>
                <a:chExt cx="6698091" cy="1113178"/>
              </a:xfrm>
            </p:grpSpPr>
            <p:pic>
              <p:nvPicPr>
                <p:cNvPr id="7" name="Picture 6">
                  <a:extLst>
                    <a:ext uri="{FF2B5EF4-FFF2-40B4-BE49-F238E27FC236}">
                      <a16:creationId xmlns:a16="http://schemas.microsoft.com/office/drawing/2014/main" id="{9B6CD2E4-88C9-E9C0-A79F-83F8D29B6E4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05207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8" name="Picture 7">
                  <a:extLst>
                    <a:ext uri="{FF2B5EF4-FFF2-40B4-BE49-F238E27FC236}">
                      <a16:creationId xmlns:a16="http://schemas.microsoft.com/office/drawing/2014/main" id="{311DABC6-3983-7713-1185-B6325DCFA97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86527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9" name="Picture 8">
                  <a:extLst>
                    <a:ext uri="{FF2B5EF4-FFF2-40B4-BE49-F238E27FC236}">
                      <a16:creationId xmlns:a16="http://schemas.microsoft.com/office/drawing/2014/main" id="{B143691A-7965-CF57-235F-3BF9D9E797C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67848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0" name="Picture 9">
                  <a:extLst>
                    <a:ext uri="{FF2B5EF4-FFF2-40B4-BE49-F238E27FC236}">
                      <a16:creationId xmlns:a16="http://schemas.microsoft.com/office/drawing/2014/main" id="{E0A2CBCB-A131-0D78-DF97-FBC8FDF9125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49168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1" name="Picture 10">
                  <a:extLst>
                    <a:ext uri="{FF2B5EF4-FFF2-40B4-BE49-F238E27FC236}">
                      <a16:creationId xmlns:a16="http://schemas.microsoft.com/office/drawing/2014/main" id="{AC55CEE5-40E5-680B-6697-6102207F3A8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230489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2" name="Picture 11">
                  <a:extLst>
                    <a:ext uri="{FF2B5EF4-FFF2-40B4-BE49-F238E27FC236}">
                      <a16:creationId xmlns:a16="http://schemas.microsoft.com/office/drawing/2014/main" id="{5B4C0C41-6E65-FC05-A6CC-38D8ABCE03F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311809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3" name="Picture 12">
                  <a:extLst>
                    <a:ext uri="{FF2B5EF4-FFF2-40B4-BE49-F238E27FC236}">
                      <a16:creationId xmlns:a16="http://schemas.microsoft.com/office/drawing/2014/main" id="{B328E3B4-EF43-8085-420B-F8AF1B486E6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393130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4" name="Picture 13">
                  <a:extLst>
                    <a:ext uri="{FF2B5EF4-FFF2-40B4-BE49-F238E27FC236}">
                      <a16:creationId xmlns:a16="http://schemas.microsoft.com/office/drawing/2014/main" id="{33EE0600-9A2A-413A-3857-BD577061C97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4744506" y="9899374"/>
                  <a:ext cx="1005655" cy="1113178"/>
                </a:xfrm>
                <a:prstGeom prst="rect">
                  <a:avLst/>
                </a:prstGeom>
              </p:spPr>
            </p:pic>
          </p:grpSp>
          <p:grpSp>
            <p:nvGrpSpPr>
              <p:cNvPr id="16" name="Group 15">
                <a:extLst>
                  <a:ext uri="{FF2B5EF4-FFF2-40B4-BE49-F238E27FC236}">
                    <a16:creationId xmlns:a16="http://schemas.microsoft.com/office/drawing/2014/main" id="{6D1DAE66-D217-62A7-C9D3-01111C973534}"/>
                  </a:ext>
                </a:extLst>
              </p:cNvPr>
              <p:cNvGrpSpPr/>
              <p:nvPr/>
            </p:nvGrpSpPr>
            <p:grpSpPr>
              <a:xfrm>
                <a:off x="5540244" y="10287113"/>
                <a:ext cx="4001321" cy="664993"/>
                <a:chOff x="9052070" y="9899374"/>
                <a:chExt cx="6698091" cy="1113178"/>
              </a:xfrm>
            </p:grpSpPr>
            <p:pic>
              <p:nvPicPr>
                <p:cNvPr id="17" name="Picture 16">
                  <a:extLst>
                    <a:ext uri="{FF2B5EF4-FFF2-40B4-BE49-F238E27FC236}">
                      <a16:creationId xmlns:a16="http://schemas.microsoft.com/office/drawing/2014/main" id="{B5FC20E4-A982-D3B7-12ED-8C32B34D170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05207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8" name="Picture 17">
                  <a:extLst>
                    <a:ext uri="{FF2B5EF4-FFF2-40B4-BE49-F238E27FC236}">
                      <a16:creationId xmlns:a16="http://schemas.microsoft.com/office/drawing/2014/main" id="{B497EF77-E4C3-7ABA-4A80-1D07A0B1448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86527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9" name="Picture 18">
                  <a:extLst>
                    <a:ext uri="{FF2B5EF4-FFF2-40B4-BE49-F238E27FC236}">
                      <a16:creationId xmlns:a16="http://schemas.microsoft.com/office/drawing/2014/main" id="{55116981-0A38-FBE0-78A6-8DBEC3CFF5E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67848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20" name="Picture 19">
                  <a:extLst>
                    <a:ext uri="{FF2B5EF4-FFF2-40B4-BE49-F238E27FC236}">
                      <a16:creationId xmlns:a16="http://schemas.microsoft.com/office/drawing/2014/main" id="{1BD4B1A3-5F22-152F-C325-4399CE70F8D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49168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21" name="Picture 20">
                  <a:extLst>
                    <a:ext uri="{FF2B5EF4-FFF2-40B4-BE49-F238E27FC236}">
                      <a16:creationId xmlns:a16="http://schemas.microsoft.com/office/drawing/2014/main" id="{FE0FAEC3-798B-F1D0-9B03-B7779AD5E06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230489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22" name="Picture 21">
                  <a:extLst>
                    <a:ext uri="{FF2B5EF4-FFF2-40B4-BE49-F238E27FC236}">
                      <a16:creationId xmlns:a16="http://schemas.microsoft.com/office/drawing/2014/main" id="{080BBDB9-97B8-4549-D927-D2B785FE08E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311809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23" name="Picture 22">
                  <a:extLst>
                    <a:ext uri="{FF2B5EF4-FFF2-40B4-BE49-F238E27FC236}">
                      <a16:creationId xmlns:a16="http://schemas.microsoft.com/office/drawing/2014/main" id="{448764B9-36BB-82D7-35F0-08631A4A2EF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393130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24" name="Picture 23">
                  <a:extLst>
                    <a:ext uri="{FF2B5EF4-FFF2-40B4-BE49-F238E27FC236}">
                      <a16:creationId xmlns:a16="http://schemas.microsoft.com/office/drawing/2014/main" id="{D1072673-0421-4C61-78E7-9C5DBBDE6B8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4744506" y="9899374"/>
                  <a:ext cx="1005655" cy="1113178"/>
                </a:xfrm>
                <a:prstGeom prst="rect">
                  <a:avLst/>
                </a:prstGeom>
              </p:spPr>
            </p:pic>
          </p:grpSp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97DDB5B4-6679-5AA0-D3F3-715B2A68AE60}"/>
                  </a:ext>
                </a:extLst>
              </p:cNvPr>
              <p:cNvGrpSpPr/>
              <p:nvPr/>
            </p:nvGrpSpPr>
            <p:grpSpPr>
              <a:xfrm>
                <a:off x="5533302" y="11006910"/>
                <a:ext cx="4001321" cy="664993"/>
                <a:chOff x="9052070" y="9899374"/>
                <a:chExt cx="6698091" cy="1113178"/>
              </a:xfrm>
            </p:grpSpPr>
            <p:pic>
              <p:nvPicPr>
                <p:cNvPr id="44" name="Picture 43">
                  <a:extLst>
                    <a:ext uri="{FF2B5EF4-FFF2-40B4-BE49-F238E27FC236}">
                      <a16:creationId xmlns:a16="http://schemas.microsoft.com/office/drawing/2014/main" id="{C1D1FC0C-B182-4852-82A4-DE501537266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05207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45" name="Picture 44">
                  <a:extLst>
                    <a:ext uri="{FF2B5EF4-FFF2-40B4-BE49-F238E27FC236}">
                      <a16:creationId xmlns:a16="http://schemas.microsoft.com/office/drawing/2014/main" id="{7D0BB560-0CB9-59AB-8A3D-E8DF7C3538F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86527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46" name="Picture 45">
                  <a:extLst>
                    <a:ext uri="{FF2B5EF4-FFF2-40B4-BE49-F238E27FC236}">
                      <a16:creationId xmlns:a16="http://schemas.microsoft.com/office/drawing/2014/main" id="{0B5F5C34-8F07-0D62-DE0B-CD56436DD2A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67848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47" name="Picture 46">
                  <a:extLst>
                    <a:ext uri="{FF2B5EF4-FFF2-40B4-BE49-F238E27FC236}">
                      <a16:creationId xmlns:a16="http://schemas.microsoft.com/office/drawing/2014/main" id="{97B3F05A-854B-6D6D-54CA-6FED50A7C0F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49168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48" name="Picture 47">
                  <a:extLst>
                    <a:ext uri="{FF2B5EF4-FFF2-40B4-BE49-F238E27FC236}">
                      <a16:creationId xmlns:a16="http://schemas.microsoft.com/office/drawing/2014/main" id="{5BCA7D3E-1B3A-BF0A-5F90-D14C7758793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230489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49" name="Picture 48">
                  <a:extLst>
                    <a:ext uri="{FF2B5EF4-FFF2-40B4-BE49-F238E27FC236}">
                      <a16:creationId xmlns:a16="http://schemas.microsoft.com/office/drawing/2014/main" id="{89A3BFFD-A8A2-6B2B-4BCB-FC673095D85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311809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50" name="Picture 49">
                  <a:extLst>
                    <a:ext uri="{FF2B5EF4-FFF2-40B4-BE49-F238E27FC236}">
                      <a16:creationId xmlns:a16="http://schemas.microsoft.com/office/drawing/2014/main" id="{3BD60D09-6049-D3BE-ED61-B61C1CDEA3E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393130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51" name="Picture 50">
                  <a:extLst>
                    <a:ext uri="{FF2B5EF4-FFF2-40B4-BE49-F238E27FC236}">
                      <a16:creationId xmlns:a16="http://schemas.microsoft.com/office/drawing/2014/main" id="{A5BEC744-2C79-D34C-524B-0F73572534D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4744506" y="9899374"/>
                  <a:ext cx="1005655" cy="1113178"/>
                </a:xfrm>
                <a:prstGeom prst="rect">
                  <a:avLst/>
                </a:prstGeom>
              </p:spPr>
            </p:pic>
          </p:grpSp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35CEFAF8-4F71-75DF-47DF-1FB081C8A46B}"/>
                  </a:ext>
                </a:extLst>
              </p:cNvPr>
              <p:cNvGrpSpPr/>
              <p:nvPr/>
            </p:nvGrpSpPr>
            <p:grpSpPr>
              <a:xfrm>
                <a:off x="5533302" y="11726707"/>
                <a:ext cx="4001321" cy="664993"/>
                <a:chOff x="9052070" y="9899374"/>
                <a:chExt cx="6698091" cy="1113178"/>
              </a:xfrm>
            </p:grpSpPr>
            <p:pic>
              <p:nvPicPr>
                <p:cNvPr id="53" name="Picture 52">
                  <a:extLst>
                    <a:ext uri="{FF2B5EF4-FFF2-40B4-BE49-F238E27FC236}">
                      <a16:creationId xmlns:a16="http://schemas.microsoft.com/office/drawing/2014/main" id="{06E6318A-6CB0-819F-C01D-62F374650C3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05207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54" name="Picture 53">
                  <a:extLst>
                    <a:ext uri="{FF2B5EF4-FFF2-40B4-BE49-F238E27FC236}">
                      <a16:creationId xmlns:a16="http://schemas.microsoft.com/office/drawing/2014/main" id="{271F370B-47C2-89CC-59EE-B49786B42C8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86527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55" name="Picture 54">
                  <a:extLst>
                    <a:ext uri="{FF2B5EF4-FFF2-40B4-BE49-F238E27FC236}">
                      <a16:creationId xmlns:a16="http://schemas.microsoft.com/office/drawing/2014/main" id="{A2A373D2-31D8-F9BA-7064-96FE00B7C9A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67848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56" name="Picture 55">
                  <a:extLst>
                    <a:ext uri="{FF2B5EF4-FFF2-40B4-BE49-F238E27FC236}">
                      <a16:creationId xmlns:a16="http://schemas.microsoft.com/office/drawing/2014/main" id="{AFAA5A5C-CDB6-FA58-56BC-A854BFF62C4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49168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57" name="Picture 56">
                  <a:extLst>
                    <a:ext uri="{FF2B5EF4-FFF2-40B4-BE49-F238E27FC236}">
                      <a16:creationId xmlns:a16="http://schemas.microsoft.com/office/drawing/2014/main" id="{DA249B01-4CE7-C290-836A-B52E61AE6D5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230489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58" name="Picture 57">
                  <a:extLst>
                    <a:ext uri="{FF2B5EF4-FFF2-40B4-BE49-F238E27FC236}">
                      <a16:creationId xmlns:a16="http://schemas.microsoft.com/office/drawing/2014/main" id="{8F96E5EE-00FB-D240-00DA-891CF98E8A9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311809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59" name="Picture 58">
                  <a:extLst>
                    <a:ext uri="{FF2B5EF4-FFF2-40B4-BE49-F238E27FC236}">
                      <a16:creationId xmlns:a16="http://schemas.microsoft.com/office/drawing/2014/main" id="{F4D00D2B-3AFB-D432-5D54-BAE19350321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393130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60" name="Picture 59">
                  <a:extLst>
                    <a:ext uri="{FF2B5EF4-FFF2-40B4-BE49-F238E27FC236}">
                      <a16:creationId xmlns:a16="http://schemas.microsoft.com/office/drawing/2014/main" id="{7FCEE044-018A-4951-CB70-A31425D0451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4744506" y="9899374"/>
                  <a:ext cx="1005655" cy="1113178"/>
                </a:xfrm>
                <a:prstGeom prst="rect">
                  <a:avLst/>
                </a:prstGeom>
              </p:spPr>
            </p:pic>
          </p:grpSp>
          <p:grpSp>
            <p:nvGrpSpPr>
              <p:cNvPr id="79" name="Group 78">
                <a:extLst>
                  <a:ext uri="{FF2B5EF4-FFF2-40B4-BE49-F238E27FC236}">
                    <a16:creationId xmlns:a16="http://schemas.microsoft.com/office/drawing/2014/main" id="{578219B1-4DB5-4E12-342D-E2AD914EA02F}"/>
                  </a:ext>
                </a:extLst>
              </p:cNvPr>
              <p:cNvGrpSpPr/>
              <p:nvPr/>
            </p:nvGrpSpPr>
            <p:grpSpPr>
              <a:xfrm>
                <a:off x="6026039" y="12446506"/>
                <a:ext cx="3515527" cy="664993"/>
                <a:chOff x="9865275" y="9899374"/>
                <a:chExt cx="5884886" cy="1113178"/>
              </a:xfrm>
            </p:grpSpPr>
            <p:pic>
              <p:nvPicPr>
                <p:cNvPr id="81" name="Picture 80">
                  <a:extLst>
                    <a:ext uri="{FF2B5EF4-FFF2-40B4-BE49-F238E27FC236}">
                      <a16:creationId xmlns:a16="http://schemas.microsoft.com/office/drawing/2014/main" id="{1F0127B1-60A7-6BAE-3E23-4D4C5BA6A53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86527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82" name="Picture 81">
                  <a:extLst>
                    <a:ext uri="{FF2B5EF4-FFF2-40B4-BE49-F238E27FC236}">
                      <a16:creationId xmlns:a16="http://schemas.microsoft.com/office/drawing/2014/main" id="{120D2B05-8CDA-D1D4-A87D-AF287FBFACB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67848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83" name="Picture 82">
                  <a:extLst>
                    <a:ext uri="{FF2B5EF4-FFF2-40B4-BE49-F238E27FC236}">
                      <a16:creationId xmlns:a16="http://schemas.microsoft.com/office/drawing/2014/main" id="{405528EF-2AE6-95B8-3EDC-4F49E85B306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49168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84" name="Picture 83">
                  <a:extLst>
                    <a:ext uri="{FF2B5EF4-FFF2-40B4-BE49-F238E27FC236}">
                      <a16:creationId xmlns:a16="http://schemas.microsoft.com/office/drawing/2014/main" id="{93973CB7-D79C-6E48-AA08-8F6EAE0084D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230489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85" name="Picture 84">
                  <a:extLst>
                    <a:ext uri="{FF2B5EF4-FFF2-40B4-BE49-F238E27FC236}">
                      <a16:creationId xmlns:a16="http://schemas.microsoft.com/office/drawing/2014/main" id="{96631F34-9202-D673-DF55-D5D262AF072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311809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86" name="Picture 85">
                  <a:extLst>
                    <a:ext uri="{FF2B5EF4-FFF2-40B4-BE49-F238E27FC236}">
                      <a16:creationId xmlns:a16="http://schemas.microsoft.com/office/drawing/2014/main" id="{9AEB0750-2838-CB75-A9E2-BBE73D535D2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393130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87" name="Picture 86">
                  <a:extLst>
                    <a:ext uri="{FF2B5EF4-FFF2-40B4-BE49-F238E27FC236}">
                      <a16:creationId xmlns:a16="http://schemas.microsoft.com/office/drawing/2014/main" id="{6E72F8C4-9061-C90D-944E-FF555AA2580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4744506" y="9899374"/>
                  <a:ext cx="1005655" cy="1113178"/>
                </a:xfrm>
                <a:prstGeom prst="rect">
                  <a:avLst/>
                </a:prstGeom>
              </p:spPr>
            </p:pic>
          </p:grpSp>
          <p:grpSp>
            <p:nvGrpSpPr>
              <p:cNvPr id="97" name="Group 96">
                <a:extLst>
                  <a:ext uri="{FF2B5EF4-FFF2-40B4-BE49-F238E27FC236}">
                    <a16:creationId xmlns:a16="http://schemas.microsoft.com/office/drawing/2014/main" id="{72E6D407-7B28-9A03-96F3-9107FF2DED0E}"/>
                  </a:ext>
                </a:extLst>
              </p:cNvPr>
              <p:cNvGrpSpPr/>
              <p:nvPr/>
            </p:nvGrpSpPr>
            <p:grpSpPr>
              <a:xfrm>
                <a:off x="5533302" y="8847519"/>
                <a:ext cx="4001321" cy="664993"/>
                <a:chOff x="9052070" y="9899374"/>
                <a:chExt cx="6698091" cy="1113178"/>
              </a:xfrm>
            </p:grpSpPr>
            <p:pic>
              <p:nvPicPr>
                <p:cNvPr id="98" name="Picture 97">
                  <a:extLst>
                    <a:ext uri="{FF2B5EF4-FFF2-40B4-BE49-F238E27FC236}">
                      <a16:creationId xmlns:a16="http://schemas.microsoft.com/office/drawing/2014/main" id="{B06C16C0-E01F-B45B-D5F0-44D3ECA33D9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05207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99" name="Picture 98">
                  <a:extLst>
                    <a:ext uri="{FF2B5EF4-FFF2-40B4-BE49-F238E27FC236}">
                      <a16:creationId xmlns:a16="http://schemas.microsoft.com/office/drawing/2014/main" id="{26B259BB-9C42-42F4-A35C-D0A41959DDC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86527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00" name="Picture 99">
                  <a:extLst>
                    <a:ext uri="{FF2B5EF4-FFF2-40B4-BE49-F238E27FC236}">
                      <a16:creationId xmlns:a16="http://schemas.microsoft.com/office/drawing/2014/main" id="{49977819-2CA8-7415-630B-2D5AD5E3602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67848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01" name="Picture 100">
                  <a:extLst>
                    <a:ext uri="{FF2B5EF4-FFF2-40B4-BE49-F238E27FC236}">
                      <a16:creationId xmlns:a16="http://schemas.microsoft.com/office/drawing/2014/main" id="{49683FD0-2021-2350-CFE3-DD7532BF9FA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49168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02" name="Picture 101">
                  <a:extLst>
                    <a:ext uri="{FF2B5EF4-FFF2-40B4-BE49-F238E27FC236}">
                      <a16:creationId xmlns:a16="http://schemas.microsoft.com/office/drawing/2014/main" id="{B942FEA2-D7CE-DAB4-EF34-9EC603594BC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230489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03" name="Picture 102">
                  <a:extLst>
                    <a:ext uri="{FF2B5EF4-FFF2-40B4-BE49-F238E27FC236}">
                      <a16:creationId xmlns:a16="http://schemas.microsoft.com/office/drawing/2014/main" id="{1501F9FE-4F2B-4A12-E3AD-1FA9F21847C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311809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04" name="Picture 103">
                  <a:extLst>
                    <a:ext uri="{FF2B5EF4-FFF2-40B4-BE49-F238E27FC236}">
                      <a16:creationId xmlns:a16="http://schemas.microsoft.com/office/drawing/2014/main" id="{B01B31BF-76B5-C2DE-6A53-DC5650644F8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393130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05" name="Picture 104">
                  <a:extLst>
                    <a:ext uri="{FF2B5EF4-FFF2-40B4-BE49-F238E27FC236}">
                      <a16:creationId xmlns:a16="http://schemas.microsoft.com/office/drawing/2014/main" id="{4E0D8639-9840-77BA-00B6-D2017CCDA7D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4744506" y="9899374"/>
                  <a:ext cx="1005655" cy="1113178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F27A180E-C652-BDD3-0CCE-C9D1D65BE086}"/>
                </a:ext>
              </a:extLst>
            </p:cNvPr>
            <p:cNvGrpSpPr/>
            <p:nvPr/>
          </p:nvGrpSpPr>
          <p:grpSpPr>
            <a:xfrm>
              <a:off x="9464212" y="8847519"/>
              <a:ext cx="4008263" cy="4263980"/>
              <a:chOff x="5533302" y="8847519"/>
              <a:chExt cx="4008263" cy="4263980"/>
            </a:xfrm>
          </p:grpSpPr>
          <p:grpSp>
            <p:nvGrpSpPr>
              <p:cNvPr id="117" name="Group 116">
                <a:extLst>
                  <a:ext uri="{FF2B5EF4-FFF2-40B4-BE49-F238E27FC236}">
                    <a16:creationId xmlns:a16="http://schemas.microsoft.com/office/drawing/2014/main" id="{9F638625-9F28-D2B5-D4A4-6750A3274A19}"/>
                  </a:ext>
                </a:extLst>
              </p:cNvPr>
              <p:cNvGrpSpPr/>
              <p:nvPr/>
            </p:nvGrpSpPr>
            <p:grpSpPr>
              <a:xfrm>
                <a:off x="5540244" y="9567316"/>
                <a:ext cx="4001321" cy="664993"/>
                <a:chOff x="9052070" y="9899374"/>
                <a:chExt cx="6698091" cy="1113178"/>
              </a:xfrm>
            </p:grpSpPr>
            <p:pic>
              <p:nvPicPr>
                <p:cNvPr id="163" name="Picture 162">
                  <a:extLst>
                    <a:ext uri="{FF2B5EF4-FFF2-40B4-BE49-F238E27FC236}">
                      <a16:creationId xmlns:a16="http://schemas.microsoft.com/office/drawing/2014/main" id="{A7DCDCFF-66B8-6C1A-48B4-46D7D456D5A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05207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64" name="Picture 163">
                  <a:extLst>
                    <a:ext uri="{FF2B5EF4-FFF2-40B4-BE49-F238E27FC236}">
                      <a16:creationId xmlns:a16="http://schemas.microsoft.com/office/drawing/2014/main" id="{D4646E8A-BF07-6160-117F-2FCE1C0CF43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86527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65" name="Picture 164">
                  <a:extLst>
                    <a:ext uri="{FF2B5EF4-FFF2-40B4-BE49-F238E27FC236}">
                      <a16:creationId xmlns:a16="http://schemas.microsoft.com/office/drawing/2014/main" id="{E9619DEF-C1A3-9CBD-BC33-7CB6B62AE3B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67848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66" name="Picture 165">
                  <a:extLst>
                    <a:ext uri="{FF2B5EF4-FFF2-40B4-BE49-F238E27FC236}">
                      <a16:creationId xmlns:a16="http://schemas.microsoft.com/office/drawing/2014/main" id="{3EE5F5DB-961A-5993-6A21-41AC8D6CD34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49168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67" name="Picture 166">
                  <a:extLst>
                    <a:ext uri="{FF2B5EF4-FFF2-40B4-BE49-F238E27FC236}">
                      <a16:creationId xmlns:a16="http://schemas.microsoft.com/office/drawing/2014/main" id="{1B3A1825-ABFB-58B1-5B9B-CDAE373CEF5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230489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68" name="Picture 167">
                  <a:extLst>
                    <a:ext uri="{FF2B5EF4-FFF2-40B4-BE49-F238E27FC236}">
                      <a16:creationId xmlns:a16="http://schemas.microsoft.com/office/drawing/2014/main" id="{4F386062-9C3A-ACB2-3F95-A2D1F4F3BBA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311809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69" name="Picture 168">
                  <a:extLst>
                    <a:ext uri="{FF2B5EF4-FFF2-40B4-BE49-F238E27FC236}">
                      <a16:creationId xmlns:a16="http://schemas.microsoft.com/office/drawing/2014/main" id="{E210B511-E480-55F9-9E93-6EB69D06513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393130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70" name="Picture 169">
                  <a:extLst>
                    <a:ext uri="{FF2B5EF4-FFF2-40B4-BE49-F238E27FC236}">
                      <a16:creationId xmlns:a16="http://schemas.microsoft.com/office/drawing/2014/main" id="{26E6AA75-77CD-E4E3-0A1B-A2FF73E0796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4744506" y="9899374"/>
                  <a:ext cx="1005655" cy="1113178"/>
                </a:xfrm>
                <a:prstGeom prst="rect">
                  <a:avLst/>
                </a:prstGeom>
              </p:spPr>
            </p:pic>
          </p:grpSp>
          <p:grpSp>
            <p:nvGrpSpPr>
              <p:cNvPr id="118" name="Group 117">
                <a:extLst>
                  <a:ext uri="{FF2B5EF4-FFF2-40B4-BE49-F238E27FC236}">
                    <a16:creationId xmlns:a16="http://schemas.microsoft.com/office/drawing/2014/main" id="{77651A95-B28C-97CD-72F1-B1715F606A0A}"/>
                  </a:ext>
                </a:extLst>
              </p:cNvPr>
              <p:cNvGrpSpPr/>
              <p:nvPr/>
            </p:nvGrpSpPr>
            <p:grpSpPr>
              <a:xfrm>
                <a:off x="5540244" y="10287113"/>
                <a:ext cx="4001321" cy="664993"/>
                <a:chOff x="9052070" y="9899374"/>
                <a:chExt cx="6698091" cy="1113178"/>
              </a:xfrm>
            </p:grpSpPr>
            <p:pic>
              <p:nvPicPr>
                <p:cNvPr id="155" name="Picture 154">
                  <a:extLst>
                    <a:ext uri="{FF2B5EF4-FFF2-40B4-BE49-F238E27FC236}">
                      <a16:creationId xmlns:a16="http://schemas.microsoft.com/office/drawing/2014/main" id="{87857233-695B-F486-673A-3C6BAD9149F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05207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56" name="Picture 155">
                  <a:extLst>
                    <a:ext uri="{FF2B5EF4-FFF2-40B4-BE49-F238E27FC236}">
                      <a16:creationId xmlns:a16="http://schemas.microsoft.com/office/drawing/2014/main" id="{32EDB2D0-953D-D952-58CF-AA3531312C9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86527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57" name="Picture 156">
                  <a:extLst>
                    <a:ext uri="{FF2B5EF4-FFF2-40B4-BE49-F238E27FC236}">
                      <a16:creationId xmlns:a16="http://schemas.microsoft.com/office/drawing/2014/main" id="{23D8291A-BA40-6F1A-C0B8-308335545CD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67848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58" name="Picture 157">
                  <a:extLst>
                    <a:ext uri="{FF2B5EF4-FFF2-40B4-BE49-F238E27FC236}">
                      <a16:creationId xmlns:a16="http://schemas.microsoft.com/office/drawing/2014/main" id="{8BF4C26E-8924-BF5D-1312-8861AC0FF23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49168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59" name="Picture 158">
                  <a:extLst>
                    <a:ext uri="{FF2B5EF4-FFF2-40B4-BE49-F238E27FC236}">
                      <a16:creationId xmlns:a16="http://schemas.microsoft.com/office/drawing/2014/main" id="{5F8C9303-232A-3C84-1825-719914B2742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230489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60" name="Picture 159">
                  <a:extLst>
                    <a:ext uri="{FF2B5EF4-FFF2-40B4-BE49-F238E27FC236}">
                      <a16:creationId xmlns:a16="http://schemas.microsoft.com/office/drawing/2014/main" id="{963A573E-D49B-BF60-9BC6-810ECB9BF58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311809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61" name="Picture 160">
                  <a:extLst>
                    <a:ext uri="{FF2B5EF4-FFF2-40B4-BE49-F238E27FC236}">
                      <a16:creationId xmlns:a16="http://schemas.microsoft.com/office/drawing/2014/main" id="{D97DB665-0B8D-EC7E-6288-8DA25CCC64B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393130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62" name="Picture 161">
                  <a:extLst>
                    <a:ext uri="{FF2B5EF4-FFF2-40B4-BE49-F238E27FC236}">
                      <a16:creationId xmlns:a16="http://schemas.microsoft.com/office/drawing/2014/main" id="{F27F590C-AFD7-CC71-3C33-AEF325E1A89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4744506" y="9899374"/>
                  <a:ext cx="1005655" cy="1113178"/>
                </a:xfrm>
                <a:prstGeom prst="rect">
                  <a:avLst/>
                </a:prstGeom>
              </p:spPr>
            </p:pic>
          </p:grpSp>
          <p:grpSp>
            <p:nvGrpSpPr>
              <p:cNvPr id="119" name="Group 118">
                <a:extLst>
                  <a:ext uri="{FF2B5EF4-FFF2-40B4-BE49-F238E27FC236}">
                    <a16:creationId xmlns:a16="http://schemas.microsoft.com/office/drawing/2014/main" id="{5767DE98-6C8D-71C8-6CC2-3C3F5ADED666}"/>
                  </a:ext>
                </a:extLst>
              </p:cNvPr>
              <p:cNvGrpSpPr/>
              <p:nvPr/>
            </p:nvGrpSpPr>
            <p:grpSpPr>
              <a:xfrm>
                <a:off x="5533302" y="11006910"/>
                <a:ext cx="4001321" cy="664993"/>
                <a:chOff x="9052070" y="9899374"/>
                <a:chExt cx="6698091" cy="1113178"/>
              </a:xfrm>
            </p:grpSpPr>
            <p:pic>
              <p:nvPicPr>
                <p:cNvPr id="147" name="Picture 146">
                  <a:extLst>
                    <a:ext uri="{FF2B5EF4-FFF2-40B4-BE49-F238E27FC236}">
                      <a16:creationId xmlns:a16="http://schemas.microsoft.com/office/drawing/2014/main" id="{A13CAB96-12AA-AE28-2C43-47AD8815C02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05207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48" name="Picture 147">
                  <a:extLst>
                    <a:ext uri="{FF2B5EF4-FFF2-40B4-BE49-F238E27FC236}">
                      <a16:creationId xmlns:a16="http://schemas.microsoft.com/office/drawing/2014/main" id="{DCC61055-85E9-B044-9854-0B4744AD2CE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86527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49" name="Picture 148">
                  <a:extLst>
                    <a:ext uri="{FF2B5EF4-FFF2-40B4-BE49-F238E27FC236}">
                      <a16:creationId xmlns:a16="http://schemas.microsoft.com/office/drawing/2014/main" id="{2FB5B353-F592-904C-FD91-63DC3F2D091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67848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50" name="Picture 149">
                  <a:extLst>
                    <a:ext uri="{FF2B5EF4-FFF2-40B4-BE49-F238E27FC236}">
                      <a16:creationId xmlns:a16="http://schemas.microsoft.com/office/drawing/2014/main" id="{33242E44-4E5C-F411-6F42-18A5AA15875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49168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51" name="Picture 150">
                  <a:extLst>
                    <a:ext uri="{FF2B5EF4-FFF2-40B4-BE49-F238E27FC236}">
                      <a16:creationId xmlns:a16="http://schemas.microsoft.com/office/drawing/2014/main" id="{C054F082-F394-8EFA-B59B-641BD4834B0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230489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52" name="Picture 151">
                  <a:extLst>
                    <a:ext uri="{FF2B5EF4-FFF2-40B4-BE49-F238E27FC236}">
                      <a16:creationId xmlns:a16="http://schemas.microsoft.com/office/drawing/2014/main" id="{AB54639E-906E-61B2-BE86-E94D2F3D2DA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311809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53" name="Picture 152">
                  <a:extLst>
                    <a:ext uri="{FF2B5EF4-FFF2-40B4-BE49-F238E27FC236}">
                      <a16:creationId xmlns:a16="http://schemas.microsoft.com/office/drawing/2014/main" id="{5699ACDA-C0B9-1C32-6F63-2C7DFE65343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393130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54" name="Picture 153">
                  <a:extLst>
                    <a:ext uri="{FF2B5EF4-FFF2-40B4-BE49-F238E27FC236}">
                      <a16:creationId xmlns:a16="http://schemas.microsoft.com/office/drawing/2014/main" id="{25F4CF9F-E795-8A1F-A808-FA986720295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4744506" y="9899374"/>
                  <a:ext cx="1005655" cy="1113178"/>
                </a:xfrm>
                <a:prstGeom prst="rect">
                  <a:avLst/>
                </a:prstGeom>
              </p:spPr>
            </p:pic>
          </p:grpSp>
          <p:grpSp>
            <p:nvGrpSpPr>
              <p:cNvPr id="120" name="Group 119">
                <a:extLst>
                  <a:ext uri="{FF2B5EF4-FFF2-40B4-BE49-F238E27FC236}">
                    <a16:creationId xmlns:a16="http://schemas.microsoft.com/office/drawing/2014/main" id="{3A75D951-3599-CEBD-B3F1-4A44B72B245F}"/>
                  </a:ext>
                </a:extLst>
              </p:cNvPr>
              <p:cNvGrpSpPr/>
              <p:nvPr/>
            </p:nvGrpSpPr>
            <p:grpSpPr>
              <a:xfrm>
                <a:off x="5533302" y="11726707"/>
                <a:ext cx="4001321" cy="664993"/>
                <a:chOff x="9052070" y="9899374"/>
                <a:chExt cx="6698091" cy="1113178"/>
              </a:xfrm>
            </p:grpSpPr>
            <p:pic>
              <p:nvPicPr>
                <p:cNvPr id="139" name="Picture 138">
                  <a:extLst>
                    <a:ext uri="{FF2B5EF4-FFF2-40B4-BE49-F238E27FC236}">
                      <a16:creationId xmlns:a16="http://schemas.microsoft.com/office/drawing/2014/main" id="{664652D1-0574-988C-454C-AEACADCE887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05207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40" name="Picture 139">
                  <a:extLst>
                    <a:ext uri="{FF2B5EF4-FFF2-40B4-BE49-F238E27FC236}">
                      <a16:creationId xmlns:a16="http://schemas.microsoft.com/office/drawing/2014/main" id="{DE6EE03A-FD8E-BF1E-6D2A-27CF11BFF12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86527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41" name="Picture 140">
                  <a:extLst>
                    <a:ext uri="{FF2B5EF4-FFF2-40B4-BE49-F238E27FC236}">
                      <a16:creationId xmlns:a16="http://schemas.microsoft.com/office/drawing/2014/main" id="{61105F37-1E19-4A82-77F8-45451FB16D7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67848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42" name="Picture 141">
                  <a:extLst>
                    <a:ext uri="{FF2B5EF4-FFF2-40B4-BE49-F238E27FC236}">
                      <a16:creationId xmlns:a16="http://schemas.microsoft.com/office/drawing/2014/main" id="{63C3E7DD-C59A-4F40-2D00-07BF1EB9FE8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49168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43" name="Picture 142">
                  <a:extLst>
                    <a:ext uri="{FF2B5EF4-FFF2-40B4-BE49-F238E27FC236}">
                      <a16:creationId xmlns:a16="http://schemas.microsoft.com/office/drawing/2014/main" id="{649B242C-79E3-4F5D-0503-E3949C913CD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230489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44" name="Picture 143">
                  <a:extLst>
                    <a:ext uri="{FF2B5EF4-FFF2-40B4-BE49-F238E27FC236}">
                      <a16:creationId xmlns:a16="http://schemas.microsoft.com/office/drawing/2014/main" id="{FC61D899-148D-C246-0D03-CFE55EC7883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311809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45" name="Picture 144">
                  <a:extLst>
                    <a:ext uri="{FF2B5EF4-FFF2-40B4-BE49-F238E27FC236}">
                      <a16:creationId xmlns:a16="http://schemas.microsoft.com/office/drawing/2014/main" id="{F3D6B229-F056-3E68-B455-E9E35DD857E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393130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46" name="Picture 145">
                  <a:extLst>
                    <a:ext uri="{FF2B5EF4-FFF2-40B4-BE49-F238E27FC236}">
                      <a16:creationId xmlns:a16="http://schemas.microsoft.com/office/drawing/2014/main" id="{987C5491-BA04-A849-1D04-5E47B9E4A96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4744506" y="9899374"/>
                  <a:ext cx="1005655" cy="1113178"/>
                </a:xfrm>
                <a:prstGeom prst="rect">
                  <a:avLst/>
                </a:prstGeom>
              </p:spPr>
            </p:pic>
          </p:grpSp>
          <p:grpSp>
            <p:nvGrpSpPr>
              <p:cNvPr id="121" name="Group 120">
                <a:extLst>
                  <a:ext uri="{FF2B5EF4-FFF2-40B4-BE49-F238E27FC236}">
                    <a16:creationId xmlns:a16="http://schemas.microsoft.com/office/drawing/2014/main" id="{02CA6C6C-126B-BCE7-DF98-D3EB685F5182}"/>
                  </a:ext>
                </a:extLst>
              </p:cNvPr>
              <p:cNvGrpSpPr/>
              <p:nvPr/>
            </p:nvGrpSpPr>
            <p:grpSpPr>
              <a:xfrm>
                <a:off x="5540244" y="12446506"/>
                <a:ext cx="4001321" cy="664993"/>
                <a:chOff x="9052070" y="9899374"/>
                <a:chExt cx="6698091" cy="1113178"/>
              </a:xfrm>
            </p:grpSpPr>
            <p:pic>
              <p:nvPicPr>
                <p:cNvPr id="131" name="Picture 130">
                  <a:extLst>
                    <a:ext uri="{FF2B5EF4-FFF2-40B4-BE49-F238E27FC236}">
                      <a16:creationId xmlns:a16="http://schemas.microsoft.com/office/drawing/2014/main" id="{2FC405AD-9761-D11B-6581-B6C164A5682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05207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32" name="Picture 131">
                  <a:extLst>
                    <a:ext uri="{FF2B5EF4-FFF2-40B4-BE49-F238E27FC236}">
                      <a16:creationId xmlns:a16="http://schemas.microsoft.com/office/drawing/2014/main" id="{A4C1CD96-06D2-401C-2CB0-9E124C371CC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86527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33" name="Picture 132">
                  <a:extLst>
                    <a:ext uri="{FF2B5EF4-FFF2-40B4-BE49-F238E27FC236}">
                      <a16:creationId xmlns:a16="http://schemas.microsoft.com/office/drawing/2014/main" id="{79EA0D8F-3F1F-8617-E203-D97C07578C6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67848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34" name="Picture 133">
                  <a:extLst>
                    <a:ext uri="{FF2B5EF4-FFF2-40B4-BE49-F238E27FC236}">
                      <a16:creationId xmlns:a16="http://schemas.microsoft.com/office/drawing/2014/main" id="{B9AC9FEE-B1E2-92D4-6B99-B91C134C67D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49168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35" name="Picture 134">
                  <a:extLst>
                    <a:ext uri="{FF2B5EF4-FFF2-40B4-BE49-F238E27FC236}">
                      <a16:creationId xmlns:a16="http://schemas.microsoft.com/office/drawing/2014/main" id="{D3D41D6D-1546-F795-2E17-3599AB7539C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230489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36" name="Picture 135">
                  <a:extLst>
                    <a:ext uri="{FF2B5EF4-FFF2-40B4-BE49-F238E27FC236}">
                      <a16:creationId xmlns:a16="http://schemas.microsoft.com/office/drawing/2014/main" id="{2E43A233-6088-3341-0E2B-290B43CB6C6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311809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37" name="Picture 136">
                  <a:extLst>
                    <a:ext uri="{FF2B5EF4-FFF2-40B4-BE49-F238E27FC236}">
                      <a16:creationId xmlns:a16="http://schemas.microsoft.com/office/drawing/2014/main" id="{4F2B7F3B-1342-1B7B-252F-CB74C4E692C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393130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38" name="Picture 137">
                  <a:extLst>
                    <a:ext uri="{FF2B5EF4-FFF2-40B4-BE49-F238E27FC236}">
                      <a16:creationId xmlns:a16="http://schemas.microsoft.com/office/drawing/2014/main" id="{3735CE30-E857-7082-D9EA-E23EC4C2479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4744506" y="9899374"/>
                  <a:ext cx="1005655" cy="1113178"/>
                </a:xfrm>
                <a:prstGeom prst="rect">
                  <a:avLst/>
                </a:prstGeom>
              </p:spPr>
            </p:pic>
          </p:grpSp>
          <p:grpSp>
            <p:nvGrpSpPr>
              <p:cNvPr id="122" name="Group 121">
                <a:extLst>
                  <a:ext uri="{FF2B5EF4-FFF2-40B4-BE49-F238E27FC236}">
                    <a16:creationId xmlns:a16="http://schemas.microsoft.com/office/drawing/2014/main" id="{6FA4B674-524C-ACCF-8C04-2986D0FF17D5}"/>
                  </a:ext>
                </a:extLst>
              </p:cNvPr>
              <p:cNvGrpSpPr/>
              <p:nvPr/>
            </p:nvGrpSpPr>
            <p:grpSpPr>
              <a:xfrm>
                <a:off x="5533302" y="8847519"/>
                <a:ext cx="4001321" cy="664993"/>
                <a:chOff x="9052070" y="9899374"/>
                <a:chExt cx="6698091" cy="1113178"/>
              </a:xfrm>
            </p:grpSpPr>
            <p:pic>
              <p:nvPicPr>
                <p:cNvPr id="123" name="Picture 122">
                  <a:extLst>
                    <a:ext uri="{FF2B5EF4-FFF2-40B4-BE49-F238E27FC236}">
                      <a16:creationId xmlns:a16="http://schemas.microsoft.com/office/drawing/2014/main" id="{A0443320-A71C-FDB6-B514-AC13520E412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05207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24" name="Picture 123">
                  <a:extLst>
                    <a:ext uri="{FF2B5EF4-FFF2-40B4-BE49-F238E27FC236}">
                      <a16:creationId xmlns:a16="http://schemas.microsoft.com/office/drawing/2014/main" id="{B448C6EB-4D95-ADE2-32DB-2BBFB38D24A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86527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25" name="Picture 124">
                  <a:extLst>
                    <a:ext uri="{FF2B5EF4-FFF2-40B4-BE49-F238E27FC236}">
                      <a16:creationId xmlns:a16="http://schemas.microsoft.com/office/drawing/2014/main" id="{7900F7AA-CE40-FD1C-44C1-E661918D98E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67848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26" name="Picture 125">
                  <a:extLst>
                    <a:ext uri="{FF2B5EF4-FFF2-40B4-BE49-F238E27FC236}">
                      <a16:creationId xmlns:a16="http://schemas.microsoft.com/office/drawing/2014/main" id="{59E0230D-D30B-8241-A7C2-1770D3CBF61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49168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27" name="Picture 126">
                  <a:extLst>
                    <a:ext uri="{FF2B5EF4-FFF2-40B4-BE49-F238E27FC236}">
                      <a16:creationId xmlns:a16="http://schemas.microsoft.com/office/drawing/2014/main" id="{72B95A05-2672-1330-4627-87199BBBF6B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230489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28" name="Picture 127">
                  <a:extLst>
                    <a:ext uri="{FF2B5EF4-FFF2-40B4-BE49-F238E27FC236}">
                      <a16:creationId xmlns:a16="http://schemas.microsoft.com/office/drawing/2014/main" id="{2A8BCBEC-BF9A-90FF-E6FE-BF88A15BF6D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311809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29" name="Picture 128">
                  <a:extLst>
                    <a:ext uri="{FF2B5EF4-FFF2-40B4-BE49-F238E27FC236}">
                      <a16:creationId xmlns:a16="http://schemas.microsoft.com/office/drawing/2014/main" id="{52C2CFB3-10E1-EF6D-EF6B-FD643D3D3D3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393130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30" name="Picture 129">
                  <a:extLst>
                    <a:ext uri="{FF2B5EF4-FFF2-40B4-BE49-F238E27FC236}">
                      <a16:creationId xmlns:a16="http://schemas.microsoft.com/office/drawing/2014/main" id="{AE458AA0-768B-1A50-AA9E-929E6AF84ED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4744506" y="9899374"/>
                  <a:ext cx="1005655" cy="1113178"/>
                </a:xfrm>
                <a:prstGeom prst="rect">
                  <a:avLst/>
                </a:prstGeom>
              </p:spPr>
            </p:pic>
          </p:grpSp>
        </p:grpSp>
      </p:grpSp>
      <p:grpSp>
        <p:nvGrpSpPr>
          <p:cNvPr id="189" name="Group 188">
            <a:extLst>
              <a:ext uri="{FF2B5EF4-FFF2-40B4-BE49-F238E27FC236}">
                <a16:creationId xmlns:a16="http://schemas.microsoft.com/office/drawing/2014/main" id="{9B1DCCEE-9E80-A440-1A3B-B29A95D6234D}"/>
              </a:ext>
            </a:extLst>
          </p:cNvPr>
          <p:cNvGrpSpPr/>
          <p:nvPr/>
        </p:nvGrpSpPr>
        <p:grpSpPr>
          <a:xfrm>
            <a:off x="14311696" y="6169981"/>
            <a:ext cx="7925289" cy="6492470"/>
            <a:chOff x="14304754" y="6169981"/>
            <a:chExt cx="7925289" cy="6492470"/>
          </a:xfrm>
        </p:grpSpPr>
        <p:sp>
          <p:nvSpPr>
            <p:cNvPr id="176" name="Rectangle 175">
              <a:extLst>
                <a:ext uri="{FF2B5EF4-FFF2-40B4-BE49-F238E27FC236}">
                  <a16:creationId xmlns:a16="http://schemas.microsoft.com/office/drawing/2014/main" id="{6343AF4D-F92A-BFAC-0445-55FEE0FD5E45}"/>
                </a:ext>
              </a:extLst>
            </p:cNvPr>
            <p:cNvSpPr/>
            <p:nvPr/>
          </p:nvSpPr>
          <p:spPr>
            <a:xfrm>
              <a:off x="14304754" y="8398471"/>
              <a:ext cx="7925289" cy="4263980"/>
            </a:xfrm>
            <a:prstGeom prst="rect">
              <a:avLst/>
            </a:prstGeom>
            <a:solidFill>
              <a:schemeClr val="accent2">
                <a:alpha val="61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4000" b="1" dirty="0">
                  <a:solidFill>
                    <a:schemeClr val="bg1"/>
                  </a:solidFill>
                  <a:latin typeface="Montserrat Black" panose="00000A00000000000000" pitchFamily="2" charset="0"/>
                </a:rPr>
                <a:t>ADAPT 16+2 </a:t>
              </a:r>
            </a:p>
            <a:p>
              <a:pPr algn="ctr"/>
              <a:r>
                <a:rPr lang="en-US" sz="4000" b="1" dirty="0">
                  <a:solidFill>
                    <a:schemeClr val="bg1"/>
                  </a:solidFill>
                  <a:latin typeface="Montserrat Black" panose="00000A00000000000000" pitchFamily="2" charset="0"/>
                </a:rPr>
                <a:t>Erasure Coding</a:t>
              </a:r>
            </a:p>
          </p:txBody>
        </p:sp>
        <p:cxnSp>
          <p:nvCxnSpPr>
            <p:cNvPr id="184" name="Straight Connector 183">
              <a:extLst>
                <a:ext uri="{FF2B5EF4-FFF2-40B4-BE49-F238E27FC236}">
                  <a16:creationId xmlns:a16="http://schemas.microsoft.com/office/drawing/2014/main" id="{73AD0376-DEDB-4841-B41A-4BF33066DB1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04754" y="6169981"/>
              <a:ext cx="964646" cy="2228490"/>
            </a:xfrm>
            <a:prstGeom prst="line">
              <a:avLst/>
            </a:prstGeom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86" name="Straight Connector 185">
              <a:extLst>
                <a:ext uri="{FF2B5EF4-FFF2-40B4-BE49-F238E27FC236}">
                  <a16:creationId xmlns:a16="http://schemas.microsoft.com/office/drawing/2014/main" id="{A9077D34-0CDB-A973-B47B-90105857740D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0965015" y="6169981"/>
              <a:ext cx="1265028" cy="2228490"/>
            </a:xfrm>
            <a:prstGeom prst="line">
              <a:avLst/>
            </a:prstGeom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</p:grpSp>
      <p:pic>
        <p:nvPicPr>
          <p:cNvPr id="5" name="Picture 4">
            <a:extLst>
              <a:ext uri="{FF2B5EF4-FFF2-40B4-BE49-F238E27FC236}">
                <a16:creationId xmlns:a16="http://schemas.microsoft.com/office/drawing/2014/main" id="{B790A876-B203-9A1C-4B0C-D91B30B411D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13535" y="1773348"/>
            <a:ext cx="6322311" cy="6322311"/>
          </a:xfrm>
          <a:prstGeom prst="rect">
            <a:avLst/>
          </a:prstGeom>
        </p:spPr>
      </p:pic>
      <p:pic>
        <p:nvPicPr>
          <p:cNvPr id="218" name="Picture 217">
            <a:extLst>
              <a:ext uri="{FF2B5EF4-FFF2-40B4-BE49-F238E27FC236}">
                <a16:creationId xmlns:a16="http://schemas.microsoft.com/office/drawing/2014/main" id="{AE8AB6AB-1982-F809-485E-B671F6F6780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368980" y="4606112"/>
            <a:ext cx="3738553" cy="535780"/>
          </a:xfrm>
          <a:prstGeom prst="rect">
            <a:avLst/>
          </a:prstGeom>
        </p:spPr>
      </p:pic>
      <p:grpSp>
        <p:nvGrpSpPr>
          <p:cNvPr id="31" name="Group 30">
            <a:extLst>
              <a:ext uri="{FF2B5EF4-FFF2-40B4-BE49-F238E27FC236}">
                <a16:creationId xmlns:a16="http://schemas.microsoft.com/office/drawing/2014/main" id="{C59F6D8F-9B1C-6799-C175-BE78E3834983}"/>
              </a:ext>
            </a:extLst>
          </p:cNvPr>
          <p:cNvGrpSpPr/>
          <p:nvPr/>
        </p:nvGrpSpPr>
        <p:grpSpPr>
          <a:xfrm>
            <a:off x="11814257" y="10507449"/>
            <a:ext cx="1845733" cy="1230558"/>
            <a:chOff x="11814257" y="10507449"/>
            <a:chExt cx="1845733" cy="1230558"/>
          </a:xfrm>
        </p:grpSpPr>
        <p:sp>
          <p:nvSpPr>
            <p:cNvPr id="213" name="Arrow: Right 212">
              <a:extLst>
                <a:ext uri="{FF2B5EF4-FFF2-40B4-BE49-F238E27FC236}">
                  <a16:creationId xmlns:a16="http://schemas.microsoft.com/office/drawing/2014/main" id="{4115F3F8-9F46-4B7B-BBEF-149A1EC52AC7}"/>
                </a:ext>
              </a:extLst>
            </p:cNvPr>
            <p:cNvSpPr/>
            <p:nvPr/>
          </p:nvSpPr>
          <p:spPr>
            <a:xfrm rot="10800000">
              <a:off x="11814257" y="10507449"/>
              <a:ext cx="1845733" cy="1230558"/>
            </a:xfrm>
            <a:prstGeom prst="rightArrow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Open Sans Light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D46EC524-173A-387C-16EB-0F26BA6F0A95}"/>
                </a:ext>
              </a:extLst>
            </p:cNvPr>
            <p:cNvSpPr txBox="1"/>
            <p:nvPr/>
          </p:nvSpPr>
          <p:spPr>
            <a:xfrm>
              <a:off x="12493956" y="10891895"/>
              <a:ext cx="1063495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2400" b="1" dirty="0">
                  <a:solidFill>
                    <a:schemeClr val="bg1"/>
                  </a:solidFill>
                  <a:latin typeface="Montserrat Black" panose="00000A00000000000000" pitchFamily="2" charset="0"/>
                </a:rPr>
                <a:t>ADR</a:t>
              </a:r>
              <a:endParaRPr lang="en-US" sz="2400" dirty="0"/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CCFA5D30-33C2-18F6-102D-D7098850388E}"/>
              </a:ext>
            </a:extLst>
          </p:cNvPr>
          <p:cNvGrpSpPr/>
          <p:nvPr/>
        </p:nvGrpSpPr>
        <p:grpSpPr>
          <a:xfrm>
            <a:off x="11768141" y="8925728"/>
            <a:ext cx="1845733" cy="1230558"/>
            <a:chOff x="11768141" y="8925728"/>
            <a:chExt cx="1845733" cy="1230558"/>
          </a:xfrm>
        </p:grpSpPr>
        <p:sp>
          <p:nvSpPr>
            <p:cNvPr id="25" name="Arrow: Right 24">
              <a:extLst>
                <a:ext uri="{FF2B5EF4-FFF2-40B4-BE49-F238E27FC236}">
                  <a16:creationId xmlns:a16="http://schemas.microsoft.com/office/drawing/2014/main" id="{B9F0593A-5724-8A75-AF40-5F718B1FD35E}"/>
                </a:ext>
              </a:extLst>
            </p:cNvPr>
            <p:cNvSpPr/>
            <p:nvPr/>
          </p:nvSpPr>
          <p:spPr>
            <a:xfrm>
              <a:off x="11768141" y="8925728"/>
              <a:ext cx="1845733" cy="1230558"/>
            </a:xfrm>
            <a:prstGeom prst="rightArrow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Open Sans Light"/>
              </a:endParaRP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5FBF1CF8-35CB-9D1E-8F77-82B12A8F0729}"/>
                </a:ext>
              </a:extLst>
            </p:cNvPr>
            <p:cNvSpPr txBox="1"/>
            <p:nvPr/>
          </p:nvSpPr>
          <p:spPr>
            <a:xfrm>
              <a:off x="12049908" y="9310174"/>
              <a:ext cx="1063495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2400" b="1" dirty="0">
                  <a:solidFill>
                    <a:schemeClr val="bg1"/>
                  </a:solidFill>
                  <a:latin typeface="Montserrat Black" panose="00000A00000000000000" pitchFamily="2" charset="0"/>
                </a:rPr>
                <a:t>ADR</a:t>
              </a:r>
              <a:endParaRPr lang="en-US" sz="2400" dirty="0"/>
            </a:p>
          </p:txBody>
        </p:sp>
      </p:grpSp>
      <p:pic>
        <p:nvPicPr>
          <p:cNvPr id="27" name="Picture 26">
            <a:extLst>
              <a:ext uri="{FF2B5EF4-FFF2-40B4-BE49-F238E27FC236}">
                <a16:creationId xmlns:a16="http://schemas.microsoft.com/office/drawing/2014/main" id="{0C770E4C-84FE-C6C6-4A2A-5D28E9C59CB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04754" y="11997458"/>
            <a:ext cx="600760" cy="664993"/>
          </a:xfrm>
          <a:prstGeom prst="rect">
            <a:avLst/>
          </a:prstGeom>
          <a:ln w="57150">
            <a:noFill/>
          </a:ln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5A531329-BF5A-47E3-C162-703416D248B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12948" y="11976548"/>
            <a:ext cx="600760" cy="664993"/>
          </a:xfrm>
          <a:prstGeom prst="rect">
            <a:avLst/>
          </a:prstGeom>
          <a:ln w="57150">
            <a:solidFill>
              <a:srgbClr val="FF0000"/>
            </a:solidFill>
          </a:ln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B36CF6A3-395D-1DD1-2B6C-094CD528F5A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4958" y="9134869"/>
            <a:ext cx="2023031" cy="2239331"/>
          </a:xfrm>
          <a:prstGeom prst="rect">
            <a:avLst/>
          </a:prstGeom>
        </p:spPr>
      </p:pic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E9A9A3B7-DA03-A7AD-6136-6050F69882D8}"/>
              </a:ext>
            </a:extLst>
          </p:cNvPr>
          <p:cNvSpPr txBox="1">
            <a:spLocks/>
          </p:cNvSpPr>
          <p:nvPr/>
        </p:nvSpPr>
        <p:spPr>
          <a:xfrm>
            <a:off x="1076214" y="6327492"/>
            <a:ext cx="12412316" cy="1913467"/>
          </a:xfrm>
          <a:prstGeom prst="rect">
            <a:avLst/>
          </a:prstGeom>
        </p:spPr>
        <p:txBody>
          <a:bodyPr/>
          <a:lstStyle>
            <a:lvl1pPr marL="0" indent="0" algn="l" defTabSz="1087010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598" kern="1200">
                <a:solidFill>
                  <a:schemeClr val="bg1"/>
                </a:solidFill>
                <a:latin typeface="+mn-lt"/>
                <a:ea typeface="+mn-ea"/>
                <a:cs typeface="Open Sans Light"/>
              </a:defRPr>
            </a:lvl1pPr>
            <a:lvl2pPr marL="1087010" indent="0" algn="ctr" defTabSz="1087010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098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2pPr>
            <a:lvl3pPr marL="2174018" indent="0" algn="ctr" defTabSz="1087010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098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3pPr>
            <a:lvl4pPr marL="3261034" indent="0" algn="ctr" defTabSz="1087010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098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4pPr>
            <a:lvl5pPr marL="4348040" indent="0" algn="ctr" defTabSz="1087010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098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5pPr>
            <a:lvl6pPr marL="5978554" indent="-543506" algn="l" defTabSz="1087010" rtl="0" eaLnBrk="1" latinLnBrk="0" hangingPunct="1">
              <a:spcBef>
                <a:spcPct val="20000"/>
              </a:spcBef>
              <a:buFont typeface="Arial"/>
              <a:buChar char="•"/>
              <a:defRPr sz="4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065566" indent="-543506" algn="l" defTabSz="1087010" rtl="0" eaLnBrk="1" latinLnBrk="0" hangingPunct="1">
              <a:spcBef>
                <a:spcPct val="20000"/>
              </a:spcBef>
              <a:buFont typeface="Arial"/>
              <a:buChar char="•"/>
              <a:defRPr sz="4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152578" indent="-543506" algn="l" defTabSz="1087010" rtl="0" eaLnBrk="1" latinLnBrk="0" hangingPunct="1">
              <a:spcBef>
                <a:spcPct val="20000"/>
              </a:spcBef>
              <a:buFont typeface="Arial"/>
              <a:buChar char="•"/>
              <a:defRPr sz="4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239588" indent="-543506" algn="l" defTabSz="1087010" rtl="0" eaLnBrk="1" latinLnBrk="0" hangingPunct="1">
              <a:spcBef>
                <a:spcPct val="20000"/>
              </a:spcBef>
              <a:buFont typeface="Arial"/>
              <a:buChar char="•"/>
              <a:defRPr sz="47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/>
              <a:t>Seagate Advanced Drive Regeneration (ADR) technology recovers ~15% of failed media and puts it back into service within the ADAPT pool automatically, that’s one less trip to the datacenter &amp; good for the environment.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C49006B4-2D33-BA0C-02CD-AE31087552AF}"/>
              </a:ext>
            </a:extLst>
          </p:cNvPr>
          <p:cNvSpPr/>
          <p:nvPr/>
        </p:nvSpPr>
        <p:spPr>
          <a:xfrm>
            <a:off x="9508257" y="9541005"/>
            <a:ext cx="1676209" cy="23083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Open Sans Light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742435A-4B85-039E-AF62-20E8516037D3}"/>
              </a:ext>
            </a:extLst>
          </p:cNvPr>
          <p:cNvSpPr/>
          <p:nvPr/>
        </p:nvSpPr>
        <p:spPr>
          <a:xfrm>
            <a:off x="19318514" y="12685486"/>
            <a:ext cx="4412343" cy="856343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Open Sans Light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ABC81900-4AE4-5D0D-2075-94D39EE01630}"/>
              </a:ext>
            </a:extLst>
          </p:cNvPr>
          <p:cNvSpPr/>
          <p:nvPr/>
        </p:nvSpPr>
        <p:spPr>
          <a:xfrm>
            <a:off x="10722634" y="2027209"/>
            <a:ext cx="2380892" cy="733246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800"/>
            <a:endParaRPr lang="en-US" dirty="0">
              <a:solidFill>
                <a:srgbClr val="FFFFFF"/>
              </a:solidFill>
              <a:latin typeface="Open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1650236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85417E-6 2.03704E-6 L -0.17669 -0.1544 " pathEditMode="relative" rAng="0" ptsTypes="AA">
                                      <p:cBhvr>
                                        <p:cTn id="14" dur="2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835" y="-7720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" dur="1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1499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0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2000"/>
                            </p:stCondLst>
                            <p:childTnLst>
                              <p:par>
                                <p:cTn id="28" presetID="10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1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2100"/>
                            </p:stCondLst>
                            <p:childTnLst>
                              <p:par>
                                <p:cTn id="32" presetID="1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85417E-6 4.81481E-6 C 0.00632 4.81481E-6 0.01153 0.02291 0.01153 0.05138 C 0.01153 0.07974 0.00632 0.10289 -3.85417E-6 0.10289 C -0.00631 0.10289 -0.01139 0.07974 -0.01139 0.05138 C -0.01139 0.02291 -0.00631 4.81481E-6 -3.85417E-6 4.81481E-6 Z " pathEditMode="relative" rAng="0" ptsTypes="AAAAA">
                                      <p:cBhvr>
                                        <p:cTn id="33" dur="17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" y="513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800"/>
                            </p:stCondLst>
                            <p:childTnLst>
                              <p:par>
                                <p:cTn id="35" presetID="10" presetClass="exit" presetSubtype="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6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4300"/>
                            </p:stCondLst>
                            <p:childTnLst>
                              <p:par>
                                <p:cTn id="39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60417E-6 5.55556E-7 L 0.17578 0.14977 " pathEditMode="relative" rAng="0" ptsTypes="AA">
                                      <p:cBhvr>
                                        <p:cTn id="40" dur="2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704" y="7373"/>
                                    </p:animMotion>
                                  </p:childTnLst>
                                </p:cTn>
                              </p:par>
                              <p:par>
                                <p:cTn id="4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2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22" presetClass="exit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45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22" presetClass="exit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48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/>
      <p:bldP spid="37" grpId="0" animBg="1"/>
      <p:bldP spid="37" grpId="1" animBg="1"/>
      <p:bldP spid="37" grpId="2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222897-2009-B3FA-F7AA-8B6257E8FDD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A New Generation of Storage Virtualiza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6850C0-E347-BEAD-2CDD-55FE30BA174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76214" y="3356178"/>
            <a:ext cx="12412316" cy="2714422"/>
          </a:xfrm>
        </p:spPr>
        <p:txBody>
          <a:bodyPr/>
          <a:lstStyle/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dirty="0"/>
              <a:t>To achieve scale-out hyper-scalability from 1PB to 300PB+ we first need to reduce the physical device count through storage virtualization.</a:t>
            </a:r>
          </a:p>
          <a:p>
            <a:endParaRPr lang="en-US" dirty="0"/>
          </a:p>
        </p:txBody>
      </p:sp>
      <p:grpSp>
        <p:nvGrpSpPr>
          <p:cNvPr id="171" name="Group 170">
            <a:extLst>
              <a:ext uri="{FF2B5EF4-FFF2-40B4-BE49-F238E27FC236}">
                <a16:creationId xmlns:a16="http://schemas.microsoft.com/office/drawing/2014/main" id="{F68F18E1-5872-324D-D583-B9B259A7C921}"/>
              </a:ext>
            </a:extLst>
          </p:cNvPr>
          <p:cNvGrpSpPr/>
          <p:nvPr/>
        </p:nvGrpSpPr>
        <p:grpSpPr>
          <a:xfrm>
            <a:off x="14297812" y="8398471"/>
            <a:ext cx="7939173" cy="4263980"/>
            <a:chOff x="5533302" y="8847519"/>
            <a:chExt cx="7939173" cy="4263980"/>
          </a:xfrm>
        </p:grpSpPr>
        <p:grpSp>
          <p:nvGrpSpPr>
            <p:cNvPr id="115" name="Group 114">
              <a:extLst>
                <a:ext uri="{FF2B5EF4-FFF2-40B4-BE49-F238E27FC236}">
                  <a16:creationId xmlns:a16="http://schemas.microsoft.com/office/drawing/2014/main" id="{DBAA7D58-2523-5270-62E4-7E8F88B5FFB5}"/>
                </a:ext>
              </a:extLst>
            </p:cNvPr>
            <p:cNvGrpSpPr/>
            <p:nvPr/>
          </p:nvGrpSpPr>
          <p:grpSpPr>
            <a:xfrm>
              <a:off x="5533302" y="8847519"/>
              <a:ext cx="4008263" cy="4263980"/>
              <a:chOff x="5533302" y="8847519"/>
              <a:chExt cx="4008263" cy="4263980"/>
            </a:xfrm>
          </p:grpSpPr>
          <p:grpSp>
            <p:nvGrpSpPr>
              <p:cNvPr id="15" name="Group 14">
                <a:extLst>
                  <a:ext uri="{FF2B5EF4-FFF2-40B4-BE49-F238E27FC236}">
                    <a16:creationId xmlns:a16="http://schemas.microsoft.com/office/drawing/2014/main" id="{9E9499BE-8367-81D1-120C-3B333F4E7C28}"/>
                  </a:ext>
                </a:extLst>
              </p:cNvPr>
              <p:cNvGrpSpPr/>
              <p:nvPr/>
            </p:nvGrpSpPr>
            <p:grpSpPr>
              <a:xfrm>
                <a:off x="5540244" y="9567316"/>
                <a:ext cx="4001321" cy="664993"/>
                <a:chOff x="9052070" y="9899374"/>
                <a:chExt cx="6698091" cy="1113178"/>
              </a:xfrm>
            </p:grpSpPr>
            <p:pic>
              <p:nvPicPr>
                <p:cNvPr id="7" name="Picture 6">
                  <a:extLst>
                    <a:ext uri="{FF2B5EF4-FFF2-40B4-BE49-F238E27FC236}">
                      <a16:creationId xmlns:a16="http://schemas.microsoft.com/office/drawing/2014/main" id="{9B6CD2E4-88C9-E9C0-A79F-83F8D29B6E4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05207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8" name="Picture 7">
                  <a:extLst>
                    <a:ext uri="{FF2B5EF4-FFF2-40B4-BE49-F238E27FC236}">
                      <a16:creationId xmlns:a16="http://schemas.microsoft.com/office/drawing/2014/main" id="{311DABC6-3983-7713-1185-B6325DCFA97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86527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9" name="Picture 8">
                  <a:extLst>
                    <a:ext uri="{FF2B5EF4-FFF2-40B4-BE49-F238E27FC236}">
                      <a16:creationId xmlns:a16="http://schemas.microsoft.com/office/drawing/2014/main" id="{B143691A-7965-CF57-235F-3BF9D9E797C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67848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0" name="Picture 9">
                  <a:extLst>
                    <a:ext uri="{FF2B5EF4-FFF2-40B4-BE49-F238E27FC236}">
                      <a16:creationId xmlns:a16="http://schemas.microsoft.com/office/drawing/2014/main" id="{E0A2CBCB-A131-0D78-DF97-FBC8FDF9125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49168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1" name="Picture 10">
                  <a:extLst>
                    <a:ext uri="{FF2B5EF4-FFF2-40B4-BE49-F238E27FC236}">
                      <a16:creationId xmlns:a16="http://schemas.microsoft.com/office/drawing/2014/main" id="{AC55CEE5-40E5-680B-6697-6102207F3A8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230489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2" name="Picture 11">
                  <a:extLst>
                    <a:ext uri="{FF2B5EF4-FFF2-40B4-BE49-F238E27FC236}">
                      <a16:creationId xmlns:a16="http://schemas.microsoft.com/office/drawing/2014/main" id="{5B4C0C41-6E65-FC05-A6CC-38D8ABCE03F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311809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3" name="Picture 12">
                  <a:extLst>
                    <a:ext uri="{FF2B5EF4-FFF2-40B4-BE49-F238E27FC236}">
                      <a16:creationId xmlns:a16="http://schemas.microsoft.com/office/drawing/2014/main" id="{B328E3B4-EF43-8085-420B-F8AF1B486E6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393130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4" name="Picture 13">
                  <a:extLst>
                    <a:ext uri="{FF2B5EF4-FFF2-40B4-BE49-F238E27FC236}">
                      <a16:creationId xmlns:a16="http://schemas.microsoft.com/office/drawing/2014/main" id="{33EE0600-9A2A-413A-3857-BD577061C97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4744506" y="9899374"/>
                  <a:ext cx="1005655" cy="1113178"/>
                </a:xfrm>
                <a:prstGeom prst="rect">
                  <a:avLst/>
                </a:prstGeom>
              </p:spPr>
            </p:pic>
          </p:grpSp>
          <p:grpSp>
            <p:nvGrpSpPr>
              <p:cNvPr id="16" name="Group 15">
                <a:extLst>
                  <a:ext uri="{FF2B5EF4-FFF2-40B4-BE49-F238E27FC236}">
                    <a16:creationId xmlns:a16="http://schemas.microsoft.com/office/drawing/2014/main" id="{6D1DAE66-D217-62A7-C9D3-01111C973534}"/>
                  </a:ext>
                </a:extLst>
              </p:cNvPr>
              <p:cNvGrpSpPr/>
              <p:nvPr/>
            </p:nvGrpSpPr>
            <p:grpSpPr>
              <a:xfrm>
                <a:off x="5540244" y="10287113"/>
                <a:ext cx="4001321" cy="664993"/>
                <a:chOff x="9052070" y="9899374"/>
                <a:chExt cx="6698091" cy="1113178"/>
              </a:xfrm>
            </p:grpSpPr>
            <p:pic>
              <p:nvPicPr>
                <p:cNvPr id="17" name="Picture 16">
                  <a:extLst>
                    <a:ext uri="{FF2B5EF4-FFF2-40B4-BE49-F238E27FC236}">
                      <a16:creationId xmlns:a16="http://schemas.microsoft.com/office/drawing/2014/main" id="{B5FC20E4-A982-D3B7-12ED-8C32B34D170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05207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8" name="Picture 17">
                  <a:extLst>
                    <a:ext uri="{FF2B5EF4-FFF2-40B4-BE49-F238E27FC236}">
                      <a16:creationId xmlns:a16="http://schemas.microsoft.com/office/drawing/2014/main" id="{B497EF77-E4C3-7ABA-4A80-1D07A0B1448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86527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9" name="Picture 18">
                  <a:extLst>
                    <a:ext uri="{FF2B5EF4-FFF2-40B4-BE49-F238E27FC236}">
                      <a16:creationId xmlns:a16="http://schemas.microsoft.com/office/drawing/2014/main" id="{55116981-0A38-FBE0-78A6-8DBEC3CFF5E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67848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20" name="Picture 19">
                  <a:extLst>
                    <a:ext uri="{FF2B5EF4-FFF2-40B4-BE49-F238E27FC236}">
                      <a16:creationId xmlns:a16="http://schemas.microsoft.com/office/drawing/2014/main" id="{1BD4B1A3-5F22-152F-C325-4399CE70F8D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49168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21" name="Picture 20">
                  <a:extLst>
                    <a:ext uri="{FF2B5EF4-FFF2-40B4-BE49-F238E27FC236}">
                      <a16:creationId xmlns:a16="http://schemas.microsoft.com/office/drawing/2014/main" id="{FE0FAEC3-798B-F1D0-9B03-B7779AD5E06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230489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22" name="Picture 21">
                  <a:extLst>
                    <a:ext uri="{FF2B5EF4-FFF2-40B4-BE49-F238E27FC236}">
                      <a16:creationId xmlns:a16="http://schemas.microsoft.com/office/drawing/2014/main" id="{080BBDB9-97B8-4549-D927-D2B785FE08E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311809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23" name="Picture 22">
                  <a:extLst>
                    <a:ext uri="{FF2B5EF4-FFF2-40B4-BE49-F238E27FC236}">
                      <a16:creationId xmlns:a16="http://schemas.microsoft.com/office/drawing/2014/main" id="{448764B9-36BB-82D7-35F0-08631A4A2EF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393130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24" name="Picture 23">
                  <a:extLst>
                    <a:ext uri="{FF2B5EF4-FFF2-40B4-BE49-F238E27FC236}">
                      <a16:creationId xmlns:a16="http://schemas.microsoft.com/office/drawing/2014/main" id="{D1072673-0421-4C61-78E7-9C5DBBDE6B8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4744506" y="9899374"/>
                  <a:ext cx="1005655" cy="1113178"/>
                </a:xfrm>
                <a:prstGeom prst="rect">
                  <a:avLst/>
                </a:prstGeom>
              </p:spPr>
            </p:pic>
          </p:grpSp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97DDB5B4-6679-5AA0-D3F3-715B2A68AE60}"/>
                  </a:ext>
                </a:extLst>
              </p:cNvPr>
              <p:cNvGrpSpPr/>
              <p:nvPr/>
            </p:nvGrpSpPr>
            <p:grpSpPr>
              <a:xfrm>
                <a:off x="5533302" y="11006910"/>
                <a:ext cx="4001321" cy="664993"/>
                <a:chOff x="9052070" y="9899374"/>
                <a:chExt cx="6698091" cy="1113178"/>
              </a:xfrm>
            </p:grpSpPr>
            <p:pic>
              <p:nvPicPr>
                <p:cNvPr id="44" name="Picture 43">
                  <a:extLst>
                    <a:ext uri="{FF2B5EF4-FFF2-40B4-BE49-F238E27FC236}">
                      <a16:creationId xmlns:a16="http://schemas.microsoft.com/office/drawing/2014/main" id="{C1D1FC0C-B182-4852-82A4-DE501537266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05207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45" name="Picture 44">
                  <a:extLst>
                    <a:ext uri="{FF2B5EF4-FFF2-40B4-BE49-F238E27FC236}">
                      <a16:creationId xmlns:a16="http://schemas.microsoft.com/office/drawing/2014/main" id="{7D0BB560-0CB9-59AB-8A3D-E8DF7C3538F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86527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46" name="Picture 45">
                  <a:extLst>
                    <a:ext uri="{FF2B5EF4-FFF2-40B4-BE49-F238E27FC236}">
                      <a16:creationId xmlns:a16="http://schemas.microsoft.com/office/drawing/2014/main" id="{0B5F5C34-8F07-0D62-DE0B-CD56436DD2A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67848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47" name="Picture 46">
                  <a:extLst>
                    <a:ext uri="{FF2B5EF4-FFF2-40B4-BE49-F238E27FC236}">
                      <a16:creationId xmlns:a16="http://schemas.microsoft.com/office/drawing/2014/main" id="{97B3F05A-854B-6D6D-54CA-6FED50A7C0F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49168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48" name="Picture 47">
                  <a:extLst>
                    <a:ext uri="{FF2B5EF4-FFF2-40B4-BE49-F238E27FC236}">
                      <a16:creationId xmlns:a16="http://schemas.microsoft.com/office/drawing/2014/main" id="{5BCA7D3E-1B3A-BF0A-5F90-D14C7758793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230489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49" name="Picture 48">
                  <a:extLst>
                    <a:ext uri="{FF2B5EF4-FFF2-40B4-BE49-F238E27FC236}">
                      <a16:creationId xmlns:a16="http://schemas.microsoft.com/office/drawing/2014/main" id="{89A3BFFD-A8A2-6B2B-4BCB-FC673095D85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311809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50" name="Picture 49">
                  <a:extLst>
                    <a:ext uri="{FF2B5EF4-FFF2-40B4-BE49-F238E27FC236}">
                      <a16:creationId xmlns:a16="http://schemas.microsoft.com/office/drawing/2014/main" id="{3BD60D09-6049-D3BE-ED61-B61C1CDEA3E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393130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51" name="Picture 50">
                  <a:extLst>
                    <a:ext uri="{FF2B5EF4-FFF2-40B4-BE49-F238E27FC236}">
                      <a16:creationId xmlns:a16="http://schemas.microsoft.com/office/drawing/2014/main" id="{A5BEC744-2C79-D34C-524B-0F73572534D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4744506" y="9899374"/>
                  <a:ext cx="1005655" cy="1113178"/>
                </a:xfrm>
                <a:prstGeom prst="rect">
                  <a:avLst/>
                </a:prstGeom>
              </p:spPr>
            </p:pic>
          </p:grpSp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35CEFAF8-4F71-75DF-47DF-1FB081C8A46B}"/>
                  </a:ext>
                </a:extLst>
              </p:cNvPr>
              <p:cNvGrpSpPr/>
              <p:nvPr/>
            </p:nvGrpSpPr>
            <p:grpSpPr>
              <a:xfrm>
                <a:off x="5533302" y="11726707"/>
                <a:ext cx="4001321" cy="664993"/>
                <a:chOff x="9052070" y="9899374"/>
                <a:chExt cx="6698091" cy="1113178"/>
              </a:xfrm>
            </p:grpSpPr>
            <p:pic>
              <p:nvPicPr>
                <p:cNvPr id="53" name="Picture 52">
                  <a:extLst>
                    <a:ext uri="{FF2B5EF4-FFF2-40B4-BE49-F238E27FC236}">
                      <a16:creationId xmlns:a16="http://schemas.microsoft.com/office/drawing/2014/main" id="{06E6318A-6CB0-819F-C01D-62F374650C3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05207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54" name="Picture 53">
                  <a:extLst>
                    <a:ext uri="{FF2B5EF4-FFF2-40B4-BE49-F238E27FC236}">
                      <a16:creationId xmlns:a16="http://schemas.microsoft.com/office/drawing/2014/main" id="{271F370B-47C2-89CC-59EE-B49786B42C8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86527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55" name="Picture 54">
                  <a:extLst>
                    <a:ext uri="{FF2B5EF4-FFF2-40B4-BE49-F238E27FC236}">
                      <a16:creationId xmlns:a16="http://schemas.microsoft.com/office/drawing/2014/main" id="{A2A373D2-31D8-F9BA-7064-96FE00B7C9A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67848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56" name="Picture 55">
                  <a:extLst>
                    <a:ext uri="{FF2B5EF4-FFF2-40B4-BE49-F238E27FC236}">
                      <a16:creationId xmlns:a16="http://schemas.microsoft.com/office/drawing/2014/main" id="{AFAA5A5C-CDB6-FA58-56BC-A854BFF62C4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49168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57" name="Picture 56">
                  <a:extLst>
                    <a:ext uri="{FF2B5EF4-FFF2-40B4-BE49-F238E27FC236}">
                      <a16:creationId xmlns:a16="http://schemas.microsoft.com/office/drawing/2014/main" id="{DA249B01-4CE7-C290-836A-B52E61AE6D5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230489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58" name="Picture 57">
                  <a:extLst>
                    <a:ext uri="{FF2B5EF4-FFF2-40B4-BE49-F238E27FC236}">
                      <a16:creationId xmlns:a16="http://schemas.microsoft.com/office/drawing/2014/main" id="{8F96E5EE-00FB-D240-00DA-891CF98E8A9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311809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59" name="Picture 58">
                  <a:extLst>
                    <a:ext uri="{FF2B5EF4-FFF2-40B4-BE49-F238E27FC236}">
                      <a16:creationId xmlns:a16="http://schemas.microsoft.com/office/drawing/2014/main" id="{F4D00D2B-3AFB-D432-5D54-BAE19350321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393130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60" name="Picture 59">
                  <a:extLst>
                    <a:ext uri="{FF2B5EF4-FFF2-40B4-BE49-F238E27FC236}">
                      <a16:creationId xmlns:a16="http://schemas.microsoft.com/office/drawing/2014/main" id="{7FCEE044-018A-4951-CB70-A31425D0451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4744506" y="9899374"/>
                  <a:ext cx="1005655" cy="1113178"/>
                </a:xfrm>
                <a:prstGeom prst="rect">
                  <a:avLst/>
                </a:prstGeom>
              </p:spPr>
            </p:pic>
          </p:grpSp>
          <p:grpSp>
            <p:nvGrpSpPr>
              <p:cNvPr id="79" name="Group 78">
                <a:extLst>
                  <a:ext uri="{FF2B5EF4-FFF2-40B4-BE49-F238E27FC236}">
                    <a16:creationId xmlns:a16="http://schemas.microsoft.com/office/drawing/2014/main" id="{578219B1-4DB5-4E12-342D-E2AD914EA02F}"/>
                  </a:ext>
                </a:extLst>
              </p:cNvPr>
              <p:cNvGrpSpPr/>
              <p:nvPr/>
            </p:nvGrpSpPr>
            <p:grpSpPr>
              <a:xfrm>
                <a:off x="5540244" y="12446506"/>
                <a:ext cx="4001321" cy="664993"/>
                <a:chOff x="9052070" y="9899374"/>
                <a:chExt cx="6698091" cy="1113178"/>
              </a:xfrm>
            </p:grpSpPr>
            <p:pic>
              <p:nvPicPr>
                <p:cNvPr id="80" name="Picture 79">
                  <a:extLst>
                    <a:ext uri="{FF2B5EF4-FFF2-40B4-BE49-F238E27FC236}">
                      <a16:creationId xmlns:a16="http://schemas.microsoft.com/office/drawing/2014/main" id="{98EF9D0A-A748-F630-7F43-DA6D93A5A3F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05207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81" name="Picture 80">
                  <a:extLst>
                    <a:ext uri="{FF2B5EF4-FFF2-40B4-BE49-F238E27FC236}">
                      <a16:creationId xmlns:a16="http://schemas.microsoft.com/office/drawing/2014/main" id="{1F0127B1-60A7-6BAE-3E23-4D4C5BA6A53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86527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82" name="Picture 81">
                  <a:extLst>
                    <a:ext uri="{FF2B5EF4-FFF2-40B4-BE49-F238E27FC236}">
                      <a16:creationId xmlns:a16="http://schemas.microsoft.com/office/drawing/2014/main" id="{120D2B05-8CDA-D1D4-A87D-AF287FBFACB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67848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83" name="Picture 82">
                  <a:extLst>
                    <a:ext uri="{FF2B5EF4-FFF2-40B4-BE49-F238E27FC236}">
                      <a16:creationId xmlns:a16="http://schemas.microsoft.com/office/drawing/2014/main" id="{405528EF-2AE6-95B8-3EDC-4F49E85B306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49168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84" name="Picture 83">
                  <a:extLst>
                    <a:ext uri="{FF2B5EF4-FFF2-40B4-BE49-F238E27FC236}">
                      <a16:creationId xmlns:a16="http://schemas.microsoft.com/office/drawing/2014/main" id="{93973CB7-D79C-6E48-AA08-8F6EAE0084D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230489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85" name="Picture 84">
                  <a:extLst>
                    <a:ext uri="{FF2B5EF4-FFF2-40B4-BE49-F238E27FC236}">
                      <a16:creationId xmlns:a16="http://schemas.microsoft.com/office/drawing/2014/main" id="{96631F34-9202-D673-DF55-D5D262AF072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311809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86" name="Picture 85">
                  <a:extLst>
                    <a:ext uri="{FF2B5EF4-FFF2-40B4-BE49-F238E27FC236}">
                      <a16:creationId xmlns:a16="http://schemas.microsoft.com/office/drawing/2014/main" id="{9AEB0750-2838-CB75-A9E2-BBE73D535D2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393130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87" name="Picture 86">
                  <a:extLst>
                    <a:ext uri="{FF2B5EF4-FFF2-40B4-BE49-F238E27FC236}">
                      <a16:creationId xmlns:a16="http://schemas.microsoft.com/office/drawing/2014/main" id="{6E72F8C4-9061-C90D-944E-FF555AA2580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4744506" y="9899374"/>
                  <a:ext cx="1005655" cy="1113178"/>
                </a:xfrm>
                <a:prstGeom prst="rect">
                  <a:avLst/>
                </a:prstGeom>
              </p:spPr>
            </p:pic>
          </p:grpSp>
          <p:grpSp>
            <p:nvGrpSpPr>
              <p:cNvPr id="97" name="Group 96">
                <a:extLst>
                  <a:ext uri="{FF2B5EF4-FFF2-40B4-BE49-F238E27FC236}">
                    <a16:creationId xmlns:a16="http://schemas.microsoft.com/office/drawing/2014/main" id="{72E6D407-7B28-9A03-96F3-9107FF2DED0E}"/>
                  </a:ext>
                </a:extLst>
              </p:cNvPr>
              <p:cNvGrpSpPr/>
              <p:nvPr/>
            </p:nvGrpSpPr>
            <p:grpSpPr>
              <a:xfrm>
                <a:off x="5533302" y="8847519"/>
                <a:ext cx="4001321" cy="664993"/>
                <a:chOff x="9052070" y="9899374"/>
                <a:chExt cx="6698091" cy="1113178"/>
              </a:xfrm>
            </p:grpSpPr>
            <p:pic>
              <p:nvPicPr>
                <p:cNvPr id="98" name="Picture 97">
                  <a:extLst>
                    <a:ext uri="{FF2B5EF4-FFF2-40B4-BE49-F238E27FC236}">
                      <a16:creationId xmlns:a16="http://schemas.microsoft.com/office/drawing/2014/main" id="{B06C16C0-E01F-B45B-D5F0-44D3ECA33D9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05207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99" name="Picture 98">
                  <a:extLst>
                    <a:ext uri="{FF2B5EF4-FFF2-40B4-BE49-F238E27FC236}">
                      <a16:creationId xmlns:a16="http://schemas.microsoft.com/office/drawing/2014/main" id="{26B259BB-9C42-42F4-A35C-D0A41959DDC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86527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00" name="Picture 99">
                  <a:extLst>
                    <a:ext uri="{FF2B5EF4-FFF2-40B4-BE49-F238E27FC236}">
                      <a16:creationId xmlns:a16="http://schemas.microsoft.com/office/drawing/2014/main" id="{49977819-2CA8-7415-630B-2D5AD5E3602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67848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01" name="Picture 100">
                  <a:extLst>
                    <a:ext uri="{FF2B5EF4-FFF2-40B4-BE49-F238E27FC236}">
                      <a16:creationId xmlns:a16="http://schemas.microsoft.com/office/drawing/2014/main" id="{49683FD0-2021-2350-CFE3-DD7532BF9FA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49168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02" name="Picture 101">
                  <a:extLst>
                    <a:ext uri="{FF2B5EF4-FFF2-40B4-BE49-F238E27FC236}">
                      <a16:creationId xmlns:a16="http://schemas.microsoft.com/office/drawing/2014/main" id="{B942FEA2-D7CE-DAB4-EF34-9EC603594BC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230489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03" name="Picture 102">
                  <a:extLst>
                    <a:ext uri="{FF2B5EF4-FFF2-40B4-BE49-F238E27FC236}">
                      <a16:creationId xmlns:a16="http://schemas.microsoft.com/office/drawing/2014/main" id="{1501F9FE-4F2B-4A12-E3AD-1FA9F21847C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311809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04" name="Picture 103">
                  <a:extLst>
                    <a:ext uri="{FF2B5EF4-FFF2-40B4-BE49-F238E27FC236}">
                      <a16:creationId xmlns:a16="http://schemas.microsoft.com/office/drawing/2014/main" id="{B01B31BF-76B5-C2DE-6A53-DC5650644F8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393130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05" name="Picture 104">
                  <a:extLst>
                    <a:ext uri="{FF2B5EF4-FFF2-40B4-BE49-F238E27FC236}">
                      <a16:creationId xmlns:a16="http://schemas.microsoft.com/office/drawing/2014/main" id="{4E0D8639-9840-77BA-00B6-D2017CCDA7D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4744506" y="9899374"/>
                  <a:ext cx="1005655" cy="1113178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F27A180E-C652-BDD3-0CCE-C9D1D65BE086}"/>
                </a:ext>
              </a:extLst>
            </p:cNvPr>
            <p:cNvGrpSpPr/>
            <p:nvPr/>
          </p:nvGrpSpPr>
          <p:grpSpPr>
            <a:xfrm>
              <a:off x="9464212" y="8847519"/>
              <a:ext cx="4008263" cy="4263980"/>
              <a:chOff x="5533302" y="8847519"/>
              <a:chExt cx="4008263" cy="4263980"/>
            </a:xfrm>
          </p:grpSpPr>
          <p:grpSp>
            <p:nvGrpSpPr>
              <p:cNvPr id="117" name="Group 116">
                <a:extLst>
                  <a:ext uri="{FF2B5EF4-FFF2-40B4-BE49-F238E27FC236}">
                    <a16:creationId xmlns:a16="http://schemas.microsoft.com/office/drawing/2014/main" id="{9F638625-9F28-D2B5-D4A4-6750A3274A19}"/>
                  </a:ext>
                </a:extLst>
              </p:cNvPr>
              <p:cNvGrpSpPr/>
              <p:nvPr/>
            </p:nvGrpSpPr>
            <p:grpSpPr>
              <a:xfrm>
                <a:off x="5540244" y="9567316"/>
                <a:ext cx="4001321" cy="664993"/>
                <a:chOff x="9052070" y="9899374"/>
                <a:chExt cx="6698091" cy="1113178"/>
              </a:xfrm>
            </p:grpSpPr>
            <p:pic>
              <p:nvPicPr>
                <p:cNvPr id="163" name="Picture 162">
                  <a:extLst>
                    <a:ext uri="{FF2B5EF4-FFF2-40B4-BE49-F238E27FC236}">
                      <a16:creationId xmlns:a16="http://schemas.microsoft.com/office/drawing/2014/main" id="{A7DCDCFF-66B8-6C1A-48B4-46D7D456D5A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05207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64" name="Picture 163">
                  <a:extLst>
                    <a:ext uri="{FF2B5EF4-FFF2-40B4-BE49-F238E27FC236}">
                      <a16:creationId xmlns:a16="http://schemas.microsoft.com/office/drawing/2014/main" id="{D4646E8A-BF07-6160-117F-2FCE1C0CF43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86527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65" name="Picture 164">
                  <a:extLst>
                    <a:ext uri="{FF2B5EF4-FFF2-40B4-BE49-F238E27FC236}">
                      <a16:creationId xmlns:a16="http://schemas.microsoft.com/office/drawing/2014/main" id="{E9619DEF-C1A3-9CBD-BC33-7CB6B62AE3B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67848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66" name="Picture 165">
                  <a:extLst>
                    <a:ext uri="{FF2B5EF4-FFF2-40B4-BE49-F238E27FC236}">
                      <a16:creationId xmlns:a16="http://schemas.microsoft.com/office/drawing/2014/main" id="{3EE5F5DB-961A-5993-6A21-41AC8D6CD34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49168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67" name="Picture 166">
                  <a:extLst>
                    <a:ext uri="{FF2B5EF4-FFF2-40B4-BE49-F238E27FC236}">
                      <a16:creationId xmlns:a16="http://schemas.microsoft.com/office/drawing/2014/main" id="{1B3A1825-ABFB-58B1-5B9B-CDAE373CEF5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230489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68" name="Picture 167">
                  <a:extLst>
                    <a:ext uri="{FF2B5EF4-FFF2-40B4-BE49-F238E27FC236}">
                      <a16:creationId xmlns:a16="http://schemas.microsoft.com/office/drawing/2014/main" id="{4F386062-9C3A-ACB2-3F95-A2D1F4F3BBA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311809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69" name="Picture 168">
                  <a:extLst>
                    <a:ext uri="{FF2B5EF4-FFF2-40B4-BE49-F238E27FC236}">
                      <a16:creationId xmlns:a16="http://schemas.microsoft.com/office/drawing/2014/main" id="{E210B511-E480-55F9-9E93-6EB69D06513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393130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70" name="Picture 169">
                  <a:extLst>
                    <a:ext uri="{FF2B5EF4-FFF2-40B4-BE49-F238E27FC236}">
                      <a16:creationId xmlns:a16="http://schemas.microsoft.com/office/drawing/2014/main" id="{26E6AA75-77CD-E4E3-0A1B-A2FF73E0796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4744506" y="9899374"/>
                  <a:ext cx="1005655" cy="1113178"/>
                </a:xfrm>
                <a:prstGeom prst="rect">
                  <a:avLst/>
                </a:prstGeom>
              </p:spPr>
            </p:pic>
          </p:grpSp>
          <p:grpSp>
            <p:nvGrpSpPr>
              <p:cNvPr id="118" name="Group 117">
                <a:extLst>
                  <a:ext uri="{FF2B5EF4-FFF2-40B4-BE49-F238E27FC236}">
                    <a16:creationId xmlns:a16="http://schemas.microsoft.com/office/drawing/2014/main" id="{77651A95-B28C-97CD-72F1-B1715F606A0A}"/>
                  </a:ext>
                </a:extLst>
              </p:cNvPr>
              <p:cNvGrpSpPr/>
              <p:nvPr/>
            </p:nvGrpSpPr>
            <p:grpSpPr>
              <a:xfrm>
                <a:off x="5540244" y="10287113"/>
                <a:ext cx="4001321" cy="664993"/>
                <a:chOff x="9052070" y="9899374"/>
                <a:chExt cx="6698091" cy="1113178"/>
              </a:xfrm>
            </p:grpSpPr>
            <p:pic>
              <p:nvPicPr>
                <p:cNvPr id="155" name="Picture 154">
                  <a:extLst>
                    <a:ext uri="{FF2B5EF4-FFF2-40B4-BE49-F238E27FC236}">
                      <a16:creationId xmlns:a16="http://schemas.microsoft.com/office/drawing/2014/main" id="{87857233-695B-F486-673A-3C6BAD9149F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05207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56" name="Picture 155">
                  <a:extLst>
                    <a:ext uri="{FF2B5EF4-FFF2-40B4-BE49-F238E27FC236}">
                      <a16:creationId xmlns:a16="http://schemas.microsoft.com/office/drawing/2014/main" id="{32EDB2D0-953D-D952-58CF-AA3531312C9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86527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57" name="Picture 156">
                  <a:extLst>
                    <a:ext uri="{FF2B5EF4-FFF2-40B4-BE49-F238E27FC236}">
                      <a16:creationId xmlns:a16="http://schemas.microsoft.com/office/drawing/2014/main" id="{23D8291A-BA40-6F1A-C0B8-308335545CD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67848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58" name="Picture 157">
                  <a:extLst>
                    <a:ext uri="{FF2B5EF4-FFF2-40B4-BE49-F238E27FC236}">
                      <a16:creationId xmlns:a16="http://schemas.microsoft.com/office/drawing/2014/main" id="{8BF4C26E-8924-BF5D-1312-8861AC0FF23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49168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59" name="Picture 158">
                  <a:extLst>
                    <a:ext uri="{FF2B5EF4-FFF2-40B4-BE49-F238E27FC236}">
                      <a16:creationId xmlns:a16="http://schemas.microsoft.com/office/drawing/2014/main" id="{5F8C9303-232A-3C84-1825-719914B2742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230489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60" name="Picture 159">
                  <a:extLst>
                    <a:ext uri="{FF2B5EF4-FFF2-40B4-BE49-F238E27FC236}">
                      <a16:creationId xmlns:a16="http://schemas.microsoft.com/office/drawing/2014/main" id="{963A573E-D49B-BF60-9BC6-810ECB9BF58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311809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61" name="Picture 160">
                  <a:extLst>
                    <a:ext uri="{FF2B5EF4-FFF2-40B4-BE49-F238E27FC236}">
                      <a16:creationId xmlns:a16="http://schemas.microsoft.com/office/drawing/2014/main" id="{D97DB665-0B8D-EC7E-6288-8DA25CCC64B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393130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62" name="Picture 161">
                  <a:extLst>
                    <a:ext uri="{FF2B5EF4-FFF2-40B4-BE49-F238E27FC236}">
                      <a16:creationId xmlns:a16="http://schemas.microsoft.com/office/drawing/2014/main" id="{F27F590C-AFD7-CC71-3C33-AEF325E1A89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4744506" y="9899374"/>
                  <a:ext cx="1005655" cy="1113178"/>
                </a:xfrm>
                <a:prstGeom prst="rect">
                  <a:avLst/>
                </a:prstGeom>
              </p:spPr>
            </p:pic>
          </p:grpSp>
          <p:grpSp>
            <p:nvGrpSpPr>
              <p:cNvPr id="119" name="Group 118">
                <a:extLst>
                  <a:ext uri="{FF2B5EF4-FFF2-40B4-BE49-F238E27FC236}">
                    <a16:creationId xmlns:a16="http://schemas.microsoft.com/office/drawing/2014/main" id="{5767DE98-6C8D-71C8-6CC2-3C3F5ADED666}"/>
                  </a:ext>
                </a:extLst>
              </p:cNvPr>
              <p:cNvGrpSpPr/>
              <p:nvPr/>
            </p:nvGrpSpPr>
            <p:grpSpPr>
              <a:xfrm>
                <a:off x="5533302" y="11006910"/>
                <a:ext cx="4001321" cy="664993"/>
                <a:chOff x="9052070" y="9899374"/>
                <a:chExt cx="6698091" cy="1113178"/>
              </a:xfrm>
            </p:grpSpPr>
            <p:pic>
              <p:nvPicPr>
                <p:cNvPr id="147" name="Picture 146">
                  <a:extLst>
                    <a:ext uri="{FF2B5EF4-FFF2-40B4-BE49-F238E27FC236}">
                      <a16:creationId xmlns:a16="http://schemas.microsoft.com/office/drawing/2014/main" id="{A13CAB96-12AA-AE28-2C43-47AD8815C02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05207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48" name="Picture 147">
                  <a:extLst>
                    <a:ext uri="{FF2B5EF4-FFF2-40B4-BE49-F238E27FC236}">
                      <a16:creationId xmlns:a16="http://schemas.microsoft.com/office/drawing/2014/main" id="{DCC61055-85E9-B044-9854-0B4744AD2CE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86527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49" name="Picture 148">
                  <a:extLst>
                    <a:ext uri="{FF2B5EF4-FFF2-40B4-BE49-F238E27FC236}">
                      <a16:creationId xmlns:a16="http://schemas.microsoft.com/office/drawing/2014/main" id="{2FB5B353-F592-904C-FD91-63DC3F2D091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67848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50" name="Picture 149">
                  <a:extLst>
                    <a:ext uri="{FF2B5EF4-FFF2-40B4-BE49-F238E27FC236}">
                      <a16:creationId xmlns:a16="http://schemas.microsoft.com/office/drawing/2014/main" id="{33242E44-4E5C-F411-6F42-18A5AA15875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49168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51" name="Picture 150">
                  <a:extLst>
                    <a:ext uri="{FF2B5EF4-FFF2-40B4-BE49-F238E27FC236}">
                      <a16:creationId xmlns:a16="http://schemas.microsoft.com/office/drawing/2014/main" id="{C054F082-F394-8EFA-B59B-641BD4834B0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230489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52" name="Picture 151">
                  <a:extLst>
                    <a:ext uri="{FF2B5EF4-FFF2-40B4-BE49-F238E27FC236}">
                      <a16:creationId xmlns:a16="http://schemas.microsoft.com/office/drawing/2014/main" id="{AB54639E-906E-61B2-BE86-E94D2F3D2DA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311809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53" name="Picture 152">
                  <a:extLst>
                    <a:ext uri="{FF2B5EF4-FFF2-40B4-BE49-F238E27FC236}">
                      <a16:creationId xmlns:a16="http://schemas.microsoft.com/office/drawing/2014/main" id="{5699ACDA-C0B9-1C32-6F63-2C7DFE65343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393130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54" name="Picture 153">
                  <a:extLst>
                    <a:ext uri="{FF2B5EF4-FFF2-40B4-BE49-F238E27FC236}">
                      <a16:creationId xmlns:a16="http://schemas.microsoft.com/office/drawing/2014/main" id="{25F4CF9F-E795-8A1F-A808-FA986720295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4744506" y="9899374"/>
                  <a:ext cx="1005655" cy="1113178"/>
                </a:xfrm>
                <a:prstGeom prst="rect">
                  <a:avLst/>
                </a:prstGeom>
              </p:spPr>
            </p:pic>
          </p:grpSp>
          <p:grpSp>
            <p:nvGrpSpPr>
              <p:cNvPr id="120" name="Group 119">
                <a:extLst>
                  <a:ext uri="{FF2B5EF4-FFF2-40B4-BE49-F238E27FC236}">
                    <a16:creationId xmlns:a16="http://schemas.microsoft.com/office/drawing/2014/main" id="{3A75D951-3599-CEBD-B3F1-4A44B72B245F}"/>
                  </a:ext>
                </a:extLst>
              </p:cNvPr>
              <p:cNvGrpSpPr/>
              <p:nvPr/>
            </p:nvGrpSpPr>
            <p:grpSpPr>
              <a:xfrm>
                <a:off x="5533302" y="11726707"/>
                <a:ext cx="4001321" cy="664993"/>
                <a:chOff x="9052070" y="9899374"/>
                <a:chExt cx="6698091" cy="1113178"/>
              </a:xfrm>
            </p:grpSpPr>
            <p:pic>
              <p:nvPicPr>
                <p:cNvPr id="139" name="Picture 138">
                  <a:extLst>
                    <a:ext uri="{FF2B5EF4-FFF2-40B4-BE49-F238E27FC236}">
                      <a16:creationId xmlns:a16="http://schemas.microsoft.com/office/drawing/2014/main" id="{664652D1-0574-988C-454C-AEACADCE887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05207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40" name="Picture 139">
                  <a:extLst>
                    <a:ext uri="{FF2B5EF4-FFF2-40B4-BE49-F238E27FC236}">
                      <a16:creationId xmlns:a16="http://schemas.microsoft.com/office/drawing/2014/main" id="{DE6EE03A-FD8E-BF1E-6D2A-27CF11BFF12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86527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41" name="Picture 140">
                  <a:extLst>
                    <a:ext uri="{FF2B5EF4-FFF2-40B4-BE49-F238E27FC236}">
                      <a16:creationId xmlns:a16="http://schemas.microsoft.com/office/drawing/2014/main" id="{61105F37-1E19-4A82-77F8-45451FB16D7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67848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42" name="Picture 141">
                  <a:extLst>
                    <a:ext uri="{FF2B5EF4-FFF2-40B4-BE49-F238E27FC236}">
                      <a16:creationId xmlns:a16="http://schemas.microsoft.com/office/drawing/2014/main" id="{63C3E7DD-C59A-4F40-2D00-07BF1EB9FE8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49168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43" name="Picture 142">
                  <a:extLst>
                    <a:ext uri="{FF2B5EF4-FFF2-40B4-BE49-F238E27FC236}">
                      <a16:creationId xmlns:a16="http://schemas.microsoft.com/office/drawing/2014/main" id="{649B242C-79E3-4F5D-0503-E3949C913CD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230489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44" name="Picture 143">
                  <a:extLst>
                    <a:ext uri="{FF2B5EF4-FFF2-40B4-BE49-F238E27FC236}">
                      <a16:creationId xmlns:a16="http://schemas.microsoft.com/office/drawing/2014/main" id="{FC61D899-148D-C246-0D03-CFE55EC7883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311809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45" name="Picture 144">
                  <a:extLst>
                    <a:ext uri="{FF2B5EF4-FFF2-40B4-BE49-F238E27FC236}">
                      <a16:creationId xmlns:a16="http://schemas.microsoft.com/office/drawing/2014/main" id="{F3D6B229-F056-3E68-B455-E9E35DD857E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393130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46" name="Picture 145">
                  <a:extLst>
                    <a:ext uri="{FF2B5EF4-FFF2-40B4-BE49-F238E27FC236}">
                      <a16:creationId xmlns:a16="http://schemas.microsoft.com/office/drawing/2014/main" id="{987C5491-BA04-A849-1D04-5E47B9E4A96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4744506" y="9899374"/>
                  <a:ext cx="1005655" cy="1113178"/>
                </a:xfrm>
                <a:prstGeom prst="rect">
                  <a:avLst/>
                </a:prstGeom>
              </p:spPr>
            </p:pic>
          </p:grpSp>
          <p:grpSp>
            <p:nvGrpSpPr>
              <p:cNvPr id="121" name="Group 120">
                <a:extLst>
                  <a:ext uri="{FF2B5EF4-FFF2-40B4-BE49-F238E27FC236}">
                    <a16:creationId xmlns:a16="http://schemas.microsoft.com/office/drawing/2014/main" id="{02CA6C6C-126B-BCE7-DF98-D3EB685F5182}"/>
                  </a:ext>
                </a:extLst>
              </p:cNvPr>
              <p:cNvGrpSpPr/>
              <p:nvPr/>
            </p:nvGrpSpPr>
            <p:grpSpPr>
              <a:xfrm>
                <a:off x="5540244" y="12446506"/>
                <a:ext cx="4001321" cy="664993"/>
                <a:chOff x="9052070" y="9899374"/>
                <a:chExt cx="6698091" cy="1113178"/>
              </a:xfrm>
            </p:grpSpPr>
            <p:pic>
              <p:nvPicPr>
                <p:cNvPr id="131" name="Picture 130">
                  <a:extLst>
                    <a:ext uri="{FF2B5EF4-FFF2-40B4-BE49-F238E27FC236}">
                      <a16:creationId xmlns:a16="http://schemas.microsoft.com/office/drawing/2014/main" id="{2FC405AD-9761-D11B-6581-B6C164A5682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05207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32" name="Picture 131">
                  <a:extLst>
                    <a:ext uri="{FF2B5EF4-FFF2-40B4-BE49-F238E27FC236}">
                      <a16:creationId xmlns:a16="http://schemas.microsoft.com/office/drawing/2014/main" id="{A4C1CD96-06D2-401C-2CB0-9E124C371CC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86527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33" name="Picture 132">
                  <a:extLst>
                    <a:ext uri="{FF2B5EF4-FFF2-40B4-BE49-F238E27FC236}">
                      <a16:creationId xmlns:a16="http://schemas.microsoft.com/office/drawing/2014/main" id="{79EA0D8F-3F1F-8617-E203-D97C07578C6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67848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34" name="Picture 133">
                  <a:extLst>
                    <a:ext uri="{FF2B5EF4-FFF2-40B4-BE49-F238E27FC236}">
                      <a16:creationId xmlns:a16="http://schemas.microsoft.com/office/drawing/2014/main" id="{B9AC9FEE-B1E2-92D4-6B99-B91C134C67D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49168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35" name="Picture 134">
                  <a:extLst>
                    <a:ext uri="{FF2B5EF4-FFF2-40B4-BE49-F238E27FC236}">
                      <a16:creationId xmlns:a16="http://schemas.microsoft.com/office/drawing/2014/main" id="{D3D41D6D-1546-F795-2E17-3599AB7539C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230489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36" name="Picture 135">
                  <a:extLst>
                    <a:ext uri="{FF2B5EF4-FFF2-40B4-BE49-F238E27FC236}">
                      <a16:creationId xmlns:a16="http://schemas.microsoft.com/office/drawing/2014/main" id="{2E43A233-6088-3341-0E2B-290B43CB6C6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311809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37" name="Picture 136">
                  <a:extLst>
                    <a:ext uri="{FF2B5EF4-FFF2-40B4-BE49-F238E27FC236}">
                      <a16:creationId xmlns:a16="http://schemas.microsoft.com/office/drawing/2014/main" id="{4F2B7F3B-1342-1B7B-252F-CB74C4E692C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393130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38" name="Picture 137">
                  <a:extLst>
                    <a:ext uri="{FF2B5EF4-FFF2-40B4-BE49-F238E27FC236}">
                      <a16:creationId xmlns:a16="http://schemas.microsoft.com/office/drawing/2014/main" id="{3735CE30-E857-7082-D9EA-E23EC4C2479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4744506" y="9899374"/>
                  <a:ext cx="1005655" cy="1113178"/>
                </a:xfrm>
                <a:prstGeom prst="rect">
                  <a:avLst/>
                </a:prstGeom>
              </p:spPr>
            </p:pic>
          </p:grpSp>
          <p:grpSp>
            <p:nvGrpSpPr>
              <p:cNvPr id="122" name="Group 121">
                <a:extLst>
                  <a:ext uri="{FF2B5EF4-FFF2-40B4-BE49-F238E27FC236}">
                    <a16:creationId xmlns:a16="http://schemas.microsoft.com/office/drawing/2014/main" id="{6FA4B674-524C-ACCF-8C04-2986D0FF17D5}"/>
                  </a:ext>
                </a:extLst>
              </p:cNvPr>
              <p:cNvGrpSpPr/>
              <p:nvPr/>
            </p:nvGrpSpPr>
            <p:grpSpPr>
              <a:xfrm>
                <a:off x="5533302" y="8847519"/>
                <a:ext cx="4001321" cy="664993"/>
                <a:chOff x="9052070" y="9899374"/>
                <a:chExt cx="6698091" cy="1113178"/>
              </a:xfrm>
            </p:grpSpPr>
            <p:pic>
              <p:nvPicPr>
                <p:cNvPr id="123" name="Picture 122">
                  <a:extLst>
                    <a:ext uri="{FF2B5EF4-FFF2-40B4-BE49-F238E27FC236}">
                      <a16:creationId xmlns:a16="http://schemas.microsoft.com/office/drawing/2014/main" id="{A0443320-A71C-FDB6-B514-AC13520E412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05207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24" name="Picture 123">
                  <a:extLst>
                    <a:ext uri="{FF2B5EF4-FFF2-40B4-BE49-F238E27FC236}">
                      <a16:creationId xmlns:a16="http://schemas.microsoft.com/office/drawing/2014/main" id="{B448C6EB-4D95-ADE2-32DB-2BBFB38D24A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86527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25" name="Picture 124">
                  <a:extLst>
                    <a:ext uri="{FF2B5EF4-FFF2-40B4-BE49-F238E27FC236}">
                      <a16:creationId xmlns:a16="http://schemas.microsoft.com/office/drawing/2014/main" id="{7900F7AA-CE40-FD1C-44C1-E661918D98E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67848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26" name="Picture 125">
                  <a:extLst>
                    <a:ext uri="{FF2B5EF4-FFF2-40B4-BE49-F238E27FC236}">
                      <a16:creationId xmlns:a16="http://schemas.microsoft.com/office/drawing/2014/main" id="{59E0230D-D30B-8241-A7C2-1770D3CBF61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49168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27" name="Picture 126">
                  <a:extLst>
                    <a:ext uri="{FF2B5EF4-FFF2-40B4-BE49-F238E27FC236}">
                      <a16:creationId xmlns:a16="http://schemas.microsoft.com/office/drawing/2014/main" id="{72B95A05-2672-1330-4627-87199BBBF6B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230489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28" name="Picture 127">
                  <a:extLst>
                    <a:ext uri="{FF2B5EF4-FFF2-40B4-BE49-F238E27FC236}">
                      <a16:creationId xmlns:a16="http://schemas.microsoft.com/office/drawing/2014/main" id="{2A8BCBEC-BF9A-90FF-E6FE-BF88A15BF6D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3118095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29" name="Picture 128">
                  <a:extLst>
                    <a:ext uri="{FF2B5EF4-FFF2-40B4-BE49-F238E27FC236}">
                      <a16:creationId xmlns:a16="http://schemas.microsoft.com/office/drawing/2014/main" id="{52C2CFB3-10E1-EF6D-EF6B-FD643D3D3D3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3931300" y="9899374"/>
                  <a:ext cx="1005655" cy="1113178"/>
                </a:xfrm>
                <a:prstGeom prst="rect">
                  <a:avLst/>
                </a:prstGeom>
              </p:spPr>
            </p:pic>
            <p:pic>
              <p:nvPicPr>
                <p:cNvPr id="130" name="Picture 129">
                  <a:extLst>
                    <a:ext uri="{FF2B5EF4-FFF2-40B4-BE49-F238E27FC236}">
                      <a16:creationId xmlns:a16="http://schemas.microsoft.com/office/drawing/2014/main" id="{AE458AA0-768B-1A50-AA9E-929E6AF84ED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4744506" y="9899374"/>
                  <a:ext cx="1005655" cy="1113178"/>
                </a:xfrm>
                <a:prstGeom prst="rect">
                  <a:avLst/>
                </a:prstGeom>
              </p:spPr>
            </p:pic>
          </p:grpSp>
        </p:grpSp>
      </p:grpSp>
      <p:grpSp>
        <p:nvGrpSpPr>
          <p:cNvPr id="189" name="Group 188">
            <a:extLst>
              <a:ext uri="{FF2B5EF4-FFF2-40B4-BE49-F238E27FC236}">
                <a16:creationId xmlns:a16="http://schemas.microsoft.com/office/drawing/2014/main" id="{9B1DCCEE-9E80-A440-1A3B-B29A95D6234D}"/>
              </a:ext>
            </a:extLst>
          </p:cNvPr>
          <p:cNvGrpSpPr/>
          <p:nvPr/>
        </p:nvGrpSpPr>
        <p:grpSpPr>
          <a:xfrm>
            <a:off x="14304754" y="6169981"/>
            <a:ext cx="7925289" cy="6492470"/>
            <a:chOff x="14304754" y="6169981"/>
            <a:chExt cx="7925289" cy="6492470"/>
          </a:xfrm>
        </p:grpSpPr>
        <p:sp>
          <p:nvSpPr>
            <p:cNvPr id="176" name="Rectangle 175">
              <a:extLst>
                <a:ext uri="{FF2B5EF4-FFF2-40B4-BE49-F238E27FC236}">
                  <a16:creationId xmlns:a16="http://schemas.microsoft.com/office/drawing/2014/main" id="{6343AF4D-F92A-BFAC-0445-55FEE0FD5E45}"/>
                </a:ext>
              </a:extLst>
            </p:cNvPr>
            <p:cNvSpPr/>
            <p:nvPr/>
          </p:nvSpPr>
          <p:spPr>
            <a:xfrm>
              <a:off x="14304754" y="8398471"/>
              <a:ext cx="7925289" cy="4263980"/>
            </a:xfrm>
            <a:prstGeom prst="rect">
              <a:avLst/>
            </a:prstGeom>
            <a:solidFill>
              <a:schemeClr val="accent2">
                <a:alpha val="61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4000" b="1" dirty="0">
                  <a:solidFill>
                    <a:schemeClr val="bg1"/>
                  </a:solidFill>
                  <a:latin typeface="Montserrat Black" panose="00000A00000000000000" pitchFamily="2" charset="0"/>
                </a:rPr>
                <a:t>ADAPT 16+2 </a:t>
              </a:r>
            </a:p>
            <a:p>
              <a:pPr algn="ctr"/>
              <a:r>
                <a:rPr lang="en-US" sz="4000" b="1" dirty="0">
                  <a:solidFill>
                    <a:schemeClr val="bg1"/>
                  </a:solidFill>
                  <a:latin typeface="Montserrat Black" panose="00000A00000000000000" pitchFamily="2" charset="0"/>
                </a:rPr>
                <a:t>Erasure Coding</a:t>
              </a:r>
            </a:p>
          </p:txBody>
        </p:sp>
        <p:cxnSp>
          <p:nvCxnSpPr>
            <p:cNvPr id="184" name="Straight Connector 183">
              <a:extLst>
                <a:ext uri="{FF2B5EF4-FFF2-40B4-BE49-F238E27FC236}">
                  <a16:creationId xmlns:a16="http://schemas.microsoft.com/office/drawing/2014/main" id="{73AD0376-DEDB-4841-B41A-4BF33066DB1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04754" y="6169981"/>
              <a:ext cx="964646" cy="2228490"/>
            </a:xfrm>
            <a:prstGeom prst="line">
              <a:avLst/>
            </a:prstGeom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86" name="Straight Connector 185">
              <a:extLst>
                <a:ext uri="{FF2B5EF4-FFF2-40B4-BE49-F238E27FC236}">
                  <a16:creationId xmlns:a16="http://schemas.microsoft.com/office/drawing/2014/main" id="{A9077D34-0CDB-A973-B47B-90105857740D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0965015" y="6169981"/>
              <a:ext cx="1265028" cy="2228490"/>
            </a:xfrm>
            <a:prstGeom prst="line">
              <a:avLst/>
            </a:prstGeom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</p:grpSp>
      <p:pic>
        <p:nvPicPr>
          <p:cNvPr id="5" name="Picture 4">
            <a:extLst>
              <a:ext uri="{FF2B5EF4-FFF2-40B4-BE49-F238E27FC236}">
                <a16:creationId xmlns:a16="http://schemas.microsoft.com/office/drawing/2014/main" id="{B790A876-B203-9A1C-4B0C-D91B30B411D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13535" y="1773348"/>
            <a:ext cx="6322311" cy="6322311"/>
          </a:xfrm>
          <a:prstGeom prst="rect">
            <a:avLst/>
          </a:prstGeom>
        </p:spPr>
      </p:pic>
      <p:grpSp>
        <p:nvGrpSpPr>
          <p:cNvPr id="212" name="Group 211">
            <a:extLst>
              <a:ext uri="{FF2B5EF4-FFF2-40B4-BE49-F238E27FC236}">
                <a16:creationId xmlns:a16="http://schemas.microsoft.com/office/drawing/2014/main" id="{134B1588-8A91-1446-35D1-0D1588026F37}"/>
              </a:ext>
            </a:extLst>
          </p:cNvPr>
          <p:cNvGrpSpPr/>
          <p:nvPr/>
        </p:nvGrpSpPr>
        <p:grpSpPr>
          <a:xfrm>
            <a:off x="3890756" y="8431879"/>
            <a:ext cx="7650348" cy="3855886"/>
            <a:chOff x="4796690" y="8607507"/>
            <a:chExt cx="7650348" cy="3855886"/>
          </a:xfrm>
        </p:grpSpPr>
        <p:grpSp>
          <p:nvGrpSpPr>
            <p:cNvPr id="197" name="Group 196">
              <a:extLst>
                <a:ext uri="{FF2B5EF4-FFF2-40B4-BE49-F238E27FC236}">
                  <a16:creationId xmlns:a16="http://schemas.microsoft.com/office/drawing/2014/main" id="{0730BE95-8829-390E-A2A8-301593414827}"/>
                </a:ext>
              </a:extLst>
            </p:cNvPr>
            <p:cNvGrpSpPr/>
            <p:nvPr/>
          </p:nvGrpSpPr>
          <p:grpSpPr>
            <a:xfrm>
              <a:off x="4796690" y="8607507"/>
              <a:ext cx="7650348" cy="1230558"/>
              <a:chOff x="5400136" y="9157223"/>
              <a:chExt cx="7650348" cy="1230558"/>
            </a:xfrm>
          </p:grpSpPr>
          <p:sp>
            <p:nvSpPr>
              <p:cNvPr id="190" name="Cylinder 189">
                <a:extLst>
                  <a:ext uri="{FF2B5EF4-FFF2-40B4-BE49-F238E27FC236}">
                    <a16:creationId xmlns:a16="http://schemas.microsoft.com/office/drawing/2014/main" id="{7E00471C-22E2-AD52-9EB8-6A600BFA7BB5}"/>
                  </a:ext>
                </a:extLst>
              </p:cNvPr>
              <p:cNvSpPr/>
              <p:nvPr/>
            </p:nvSpPr>
            <p:spPr>
              <a:xfrm>
                <a:off x="5400136" y="9157223"/>
                <a:ext cx="1204716" cy="1230558"/>
              </a:xfrm>
              <a:prstGeom prst="can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b="1" dirty="0">
                    <a:latin typeface="Montserrat Black" panose="00000A00000000000000" pitchFamily="2" charset="0"/>
                  </a:rPr>
                  <a:t>VOLUME</a:t>
                </a:r>
              </a:p>
            </p:txBody>
          </p:sp>
          <p:sp>
            <p:nvSpPr>
              <p:cNvPr id="192" name="Cylinder 191">
                <a:extLst>
                  <a:ext uri="{FF2B5EF4-FFF2-40B4-BE49-F238E27FC236}">
                    <a16:creationId xmlns:a16="http://schemas.microsoft.com/office/drawing/2014/main" id="{10296F9A-298F-88B1-1069-B17DC6F3E58D}"/>
                  </a:ext>
                </a:extLst>
              </p:cNvPr>
              <p:cNvSpPr/>
              <p:nvPr/>
            </p:nvSpPr>
            <p:spPr>
              <a:xfrm>
                <a:off x="6689262" y="9157223"/>
                <a:ext cx="1204716" cy="1230558"/>
              </a:xfrm>
              <a:prstGeom prst="can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b="1" dirty="0">
                    <a:latin typeface="Montserrat Black" panose="00000A00000000000000" pitchFamily="2" charset="0"/>
                  </a:rPr>
                  <a:t>VOLUME</a:t>
                </a:r>
              </a:p>
            </p:txBody>
          </p:sp>
          <p:sp>
            <p:nvSpPr>
              <p:cNvPr id="193" name="Cylinder 192">
                <a:extLst>
                  <a:ext uri="{FF2B5EF4-FFF2-40B4-BE49-F238E27FC236}">
                    <a16:creationId xmlns:a16="http://schemas.microsoft.com/office/drawing/2014/main" id="{723AE572-05E3-81A9-21F5-2F470BCEC786}"/>
                  </a:ext>
                </a:extLst>
              </p:cNvPr>
              <p:cNvSpPr/>
              <p:nvPr/>
            </p:nvSpPr>
            <p:spPr>
              <a:xfrm>
                <a:off x="7978388" y="9157223"/>
                <a:ext cx="1204716" cy="1230558"/>
              </a:xfrm>
              <a:prstGeom prst="can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b="1" dirty="0">
                    <a:latin typeface="Montserrat Black" panose="00000A00000000000000" pitchFamily="2" charset="0"/>
                  </a:rPr>
                  <a:t>VOLUME</a:t>
                </a:r>
              </a:p>
            </p:txBody>
          </p:sp>
          <p:sp>
            <p:nvSpPr>
              <p:cNvPr id="194" name="Cylinder 193">
                <a:extLst>
                  <a:ext uri="{FF2B5EF4-FFF2-40B4-BE49-F238E27FC236}">
                    <a16:creationId xmlns:a16="http://schemas.microsoft.com/office/drawing/2014/main" id="{24406AA9-D149-13AC-8120-6750D04D038A}"/>
                  </a:ext>
                </a:extLst>
              </p:cNvPr>
              <p:cNvSpPr/>
              <p:nvPr/>
            </p:nvSpPr>
            <p:spPr>
              <a:xfrm>
                <a:off x="9267514" y="9157223"/>
                <a:ext cx="1204716" cy="1230558"/>
              </a:xfrm>
              <a:prstGeom prst="can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b="1" dirty="0">
                    <a:latin typeface="Montserrat Black" panose="00000A00000000000000" pitchFamily="2" charset="0"/>
                  </a:rPr>
                  <a:t>VOLUME</a:t>
                </a:r>
              </a:p>
            </p:txBody>
          </p:sp>
          <p:sp>
            <p:nvSpPr>
              <p:cNvPr id="195" name="Cylinder 194">
                <a:extLst>
                  <a:ext uri="{FF2B5EF4-FFF2-40B4-BE49-F238E27FC236}">
                    <a16:creationId xmlns:a16="http://schemas.microsoft.com/office/drawing/2014/main" id="{0070D58B-4F8C-193A-02F3-16F1E2245031}"/>
                  </a:ext>
                </a:extLst>
              </p:cNvPr>
              <p:cNvSpPr/>
              <p:nvPr/>
            </p:nvSpPr>
            <p:spPr>
              <a:xfrm>
                <a:off x="10556640" y="9157223"/>
                <a:ext cx="1204716" cy="1230558"/>
              </a:xfrm>
              <a:prstGeom prst="can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b="1" dirty="0">
                    <a:latin typeface="Montserrat Black" panose="00000A00000000000000" pitchFamily="2" charset="0"/>
                  </a:rPr>
                  <a:t>VOLUME</a:t>
                </a:r>
              </a:p>
            </p:txBody>
          </p:sp>
          <p:sp>
            <p:nvSpPr>
              <p:cNvPr id="196" name="Cylinder 195">
                <a:extLst>
                  <a:ext uri="{FF2B5EF4-FFF2-40B4-BE49-F238E27FC236}">
                    <a16:creationId xmlns:a16="http://schemas.microsoft.com/office/drawing/2014/main" id="{D93034EF-3225-8322-4D48-F1A30CCCD41E}"/>
                  </a:ext>
                </a:extLst>
              </p:cNvPr>
              <p:cNvSpPr/>
              <p:nvPr/>
            </p:nvSpPr>
            <p:spPr>
              <a:xfrm>
                <a:off x="11845768" y="9157223"/>
                <a:ext cx="1204716" cy="1230558"/>
              </a:xfrm>
              <a:prstGeom prst="can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b="1" dirty="0">
                    <a:latin typeface="Montserrat Black" panose="00000A00000000000000" pitchFamily="2" charset="0"/>
                  </a:rPr>
                  <a:t>VOLUME</a:t>
                </a:r>
              </a:p>
            </p:txBody>
          </p:sp>
        </p:grpSp>
        <p:grpSp>
          <p:nvGrpSpPr>
            <p:cNvPr id="198" name="Group 197">
              <a:extLst>
                <a:ext uri="{FF2B5EF4-FFF2-40B4-BE49-F238E27FC236}">
                  <a16:creationId xmlns:a16="http://schemas.microsoft.com/office/drawing/2014/main" id="{02367786-2ED5-8F75-2947-3FB14EF13432}"/>
                </a:ext>
              </a:extLst>
            </p:cNvPr>
            <p:cNvGrpSpPr/>
            <p:nvPr/>
          </p:nvGrpSpPr>
          <p:grpSpPr>
            <a:xfrm>
              <a:off x="4796690" y="9920171"/>
              <a:ext cx="7650348" cy="1230558"/>
              <a:chOff x="5400136" y="9157223"/>
              <a:chExt cx="7650348" cy="1230558"/>
            </a:xfrm>
          </p:grpSpPr>
          <p:sp>
            <p:nvSpPr>
              <p:cNvPr id="199" name="Cylinder 198">
                <a:extLst>
                  <a:ext uri="{FF2B5EF4-FFF2-40B4-BE49-F238E27FC236}">
                    <a16:creationId xmlns:a16="http://schemas.microsoft.com/office/drawing/2014/main" id="{653F75B3-7989-380E-3273-545ADC3C863E}"/>
                  </a:ext>
                </a:extLst>
              </p:cNvPr>
              <p:cNvSpPr/>
              <p:nvPr/>
            </p:nvSpPr>
            <p:spPr>
              <a:xfrm>
                <a:off x="5400136" y="9157223"/>
                <a:ext cx="1204716" cy="1230558"/>
              </a:xfrm>
              <a:prstGeom prst="can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b="1" dirty="0">
                    <a:latin typeface="Montserrat Black" panose="00000A00000000000000" pitchFamily="2" charset="0"/>
                  </a:rPr>
                  <a:t>VOLUME</a:t>
                </a:r>
              </a:p>
            </p:txBody>
          </p:sp>
          <p:sp>
            <p:nvSpPr>
              <p:cNvPr id="200" name="Cylinder 199">
                <a:extLst>
                  <a:ext uri="{FF2B5EF4-FFF2-40B4-BE49-F238E27FC236}">
                    <a16:creationId xmlns:a16="http://schemas.microsoft.com/office/drawing/2014/main" id="{727F34B3-261F-97EB-0BDF-AB00D924C263}"/>
                  </a:ext>
                </a:extLst>
              </p:cNvPr>
              <p:cNvSpPr/>
              <p:nvPr/>
            </p:nvSpPr>
            <p:spPr>
              <a:xfrm>
                <a:off x="6689262" y="9157223"/>
                <a:ext cx="1204716" cy="1230558"/>
              </a:xfrm>
              <a:prstGeom prst="can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b="1" dirty="0">
                    <a:latin typeface="Montserrat Black" panose="00000A00000000000000" pitchFamily="2" charset="0"/>
                  </a:rPr>
                  <a:t>VOLUME</a:t>
                </a:r>
              </a:p>
            </p:txBody>
          </p:sp>
          <p:sp>
            <p:nvSpPr>
              <p:cNvPr id="201" name="Cylinder 200">
                <a:extLst>
                  <a:ext uri="{FF2B5EF4-FFF2-40B4-BE49-F238E27FC236}">
                    <a16:creationId xmlns:a16="http://schemas.microsoft.com/office/drawing/2014/main" id="{84366354-2215-026B-C29E-4F0991E73C34}"/>
                  </a:ext>
                </a:extLst>
              </p:cNvPr>
              <p:cNvSpPr/>
              <p:nvPr/>
            </p:nvSpPr>
            <p:spPr>
              <a:xfrm>
                <a:off x="7978388" y="9157223"/>
                <a:ext cx="1204716" cy="1230558"/>
              </a:xfrm>
              <a:prstGeom prst="can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b="1" dirty="0">
                    <a:latin typeface="Montserrat Black" panose="00000A00000000000000" pitchFamily="2" charset="0"/>
                  </a:rPr>
                  <a:t>VOLUME</a:t>
                </a:r>
              </a:p>
            </p:txBody>
          </p:sp>
          <p:sp>
            <p:nvSpPr>
              <p:cNvPr id="202" name="Cylinder 201">
                <a:extLst>
                  <a:ext uri="{FF2B5EF4-FFF2-40B4-BE49-F238E27FC236}">
                    <a16:creationId xmlns:a16="http://schemas.microsoft.com/office/drawing/2014/main" id="{080E60A4-5AE0-5A79-8681-D53EE15F0174}"/>
                  </a:ext>
                </a:extLst>
              </p:cNvPr>
              <p:cNvSpPr/>
              <p:nvPr/>
            </p:nvSpPr>
            <p:spPr>
              <a:xfrm>
                <a:off x="9267514" y="9157223"/>
                <a:ext cx="1204716" cy="1230558"/>
              </a:xfrm>
              <a:prstGeom prst="can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b="1" dirty="0">
                    <a:latin typeface="Montserrat Black" panose="00000A00000000000000" pitchFamily="2" charset="0"/>
                  </a:rPr>
                  <a:t>VOLUME</a:t>
                </a:r>
              </a:p>
            </p:txBody>
          </p:sp>
          <p:sp>
            <p:nvSpPr>
              <p:cNvPr id="203" name="Cylinder 202">
                <a:extLst>
                  <a:ext uri="{FF2B5EF4-FFF2-40B4-BE49-F238E27FC236}">
                    <a16:creationId xmlns:a16="http://schemas.microsoft.com/office/drawing/2014/main" id="{F200E1BF-F31A-07D4-9E28-35866224CE66}"/>
                  </a:ext>
                </a:extLst>
              </p:cNvPr>
              <p:cNvSpPr/>
              <p:nvPr/>
            </p:nvSpPr>
            <p:spPr>
              <a:xfrm>
                <a:off x="10556640" y="9157223"/>
                <a:ext cx="1204716" cy="1230558"/>
              </a:xfrm>
              <a:prstGeom prst="can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b="1" dirty="0">
                    <a:latin typeface="Montserrat Black" panose="00000A00000000000000" pitchFamily="2" charset="0"/>
                  </a:rPr>
                  <a:t>VOLUME</a:t>
                </a:r>
              </a:p>
            </p:txBody>
          </p:sp>
          <p:sp>
            <p:nvSpPr>
              <p:cNvPr id="204" name="Cylinder 203">
                <a:extLst>
                  <a:ext uri="{FF2B5EF4-FFF2-40B4-BE49-F238E27FC236}">
                    <a16:creationId xmlns:a16="http://schemas.microsoft.com/office/drawing/2014/main" id="{7003CB23-8323-4845-B912-E3842CEA0BE6}"/>
                  </a:ext>
                </a:extLst>
              </p:cNvPr>
              <p:cNvSpPr/>
              <p:nvPr/>
            </p:nvSpPr>
            <p:spPr>
              <a:xfrm>
                <a:off x="11845768" y="9157223"/>
                <a:ext cx="1204716" cy="1230558"/>
              </a:xfrm>
              <a:prstGeom prst="can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b="1" dirty="0">
                    <a:latin typeface="Montserrat Black" panose="00000A00000000000000" pitchFamily="2" charset="0"/>
                  </a:rPr>
                  <a:t>VOLUME</a:t>
                </a:r>
              </a:p>
            </p:txBody>
          </p:sp>
        </p:grpSp>
        <p:grpSp>
          <p:nvGrpSpPr>
            <p:cNvPr id="205" name="Group 204">
              <a:extLst>
                <a:ext uri="{FF2B5EF4-FFF2-40B4-BE49-F238E27FC236}">
                  <a16:creationId xmlns:a16="http://schemas.microsoft.com/office/drawing/2014/main" id="{B0F40497-A6C8-C398-E497-404E966DCAA4}"/>
                </a:ext>
              </a:extLst>
            </p:cNvPr>
            <p:cNvGrpSpPr/>
            <p:nvPr/>
          </p:nvGrpSpPr>
          <p:grpSpPr>
            <a:xfrm>
              <a:off x="4796690" y="11232835"/>
              <a:ext cx="7650348" cy="1230558"/>
              <a:chOff x="5400136" y="9157223"/>
              <a:chExt cx="7650348" cy="1230558"/>
            </a:xfrm>
          </p:grpSpPr>
          <p:sp>
            <p:nvSpPr>
              <p:cNvPr id="206" name="Cylinder 205">
                <a:extLst>
                  <a:ext uri="{FF2B5EF4-FFF2-40B4-BE49-F238E27FC236}">
                    <a16:creationId xmlns:a16="http://schemas.microsoft.com/office/drawing/2014/main" id="{1BF54D5F-CE2A-3D05-9CB6-C12362C0E1F4}"/>
                  </a:ext>
                </a:extLst>
              </p:cNvPr>
              <p:cNvSpPr/>
              <p:nvPr/>
            </p:nvSpPr>
            <p:spPr>
              <a:xfrm>
                <a:off x="5400136" y="9157223"/>
                <a:ext cx="1204716" cy="1230558"/>
              </a:xfrm>
              <a:prstGeom prst="can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b="1" dirty="0">
                    <a:latin typeface="Montserrat Black" panose="00000A00000000000000" pitchFamily="2" charset="0"/>
                  </a:rPr>
                  <a:t>VOLUME</a:t>
                </a:r>
              </a:p>
            </p:txBody>
          </p:sp>
          <p:sp>
            <p:nvSpPr>
              <p:cNvPr id="207" name="Cylinder 206">
                <a:extLst>
                  <a:ext uri="{FF2B5EF4-FFF2-40B4-BE49-F238E27FC236}">
                    <a16:creationId xmlns:a16="http://schemas.microsoft.com/office/drawing/2014/main" id="{DC988D9E-A4B8-DEBA-4488-FC74A0C6EC4B}"/>
                  </a:ext>
                </a:extLst>
              </p:cNvPr>
              <p:cNvSpPr/>
              <p:nvPr/>
            </p:nvSpPr>
            <p:spPr>
              <a:xfrm>
                <a:off x="6689262" y="9157223"/>
                <a:ext cx="1204716" cy="1230558"/>
              </a:xfrm>
              <a:prstGeom prst="can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b="1" dirty="0">
                    <a:latin typeface="Montserrat Black" panose="00000A00000000000000" pitchFamily="2" charset="0"/>
                  </a:rPr>
                  <a:t>VOLUME</a:t>
                </a:r>
              </a:p>
            </p:txBody>
          </p:sp>
          <p:sp>
            <p:nvSpPr>
              <p:cNvPr id="208" name="Cylinder 207">
                <a:extLst>
                  <a:ext uri="{FF2B5EF4-FFF2-40B4-BE49-F238E27FC236}">
                    <a16:creationId xmlns:a16="http://schemas.microsoft.com/office/drawing/2014/main" id="{723E78B2-04E8-20B5-EE46-89E550A81D0B}"/>
                  </a:ext>
                </a:extLst>
              </p:cNvPr>
              <p:cNvSpPr/>
              <p:nvPr/>
            </p:nvSpPr>
            <p:spPr>
              <a:xfrm>
                <a:off x="7978388" y="9157223"/>
                <a:ext cx="1204716" cy="1230558"/>
              </a:xfrm>
              <a:prstGeom prst="can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b="1" dirty="0">
                    <a:latin typeface="Montserrat Black" panose="00000A00000000000000" pitchFamily="2" charset="0"/>
                  </a:rPr>
                  <a:t>VOLUME</a:t>
                </a:r>
              </a:p>
            </p:txBody>
          </p:sp>
          <p:sp>
            <p:nvSpPr>
              <p:cNvPr id="209" name="Cylinder 208">
                <a:extLst>
                  <a:ext uri="{FF2B5EF4-FFF2-40B4-BE49-F238E27FC236}">
                    <a16:creationId xmlns:a16="http://schemas.microsoft.com/office/drawing/2014/main" id="{A26ACB7B-ECFC-2BAE-7B12-54B8DB4ECD97}"/>
                  </a:ext>
                </a:extLst>
              </p:cNvPr>
              <p:cNvSpPr/>
              <p:nvPr/>
            </p:nvSpPr>
            <p:spPr>
              <a:xfrm>
                <a:off x="9267514" y="9157223"/>
                <a:ext cx="1204716" cy="1230558"/>
              </a:xfrm>
              <a:prstGeom prst="can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b="1" dirty="0">
                    <a:latin typeface="Montserrat Black" panose="00000A00000000000000" pitchFamily="2" charset="0"/>
                  </a:rPr>
                  <a:t>VOLUME</a:t>
                </a:r>
              </a:p>
            </p:txBody>
          </p:sp>
          <p:sp>
            <p:nvSpPr>
              <p:cNvPr id="210" name="Cylinder 209">
                <a:extLst>
                  <a:ext uri="{FF2B5EF4-FFF2-40B4-BE49-F238E27FC236}">
                    <a16:creationId xmlns:a16="http://schemas.microsoft.com/office/drawing/2014/main" id="{DF7DA95C-5C71-CEF2-F2C5-09059721AAE0}"/>
                  </a:ext>
                </a:extLst>
              </p:cNvPr>
              <p:cNvSpPr/>
              <p:nvPr/>
            </p:nvSpPr>
            <p:spPr>
              <a:xfrm>
                <a:off x="10556640" y="9157223"/>
                <a:ext cx="1204716" cy="1230558"/>
              </a:xfrm>
              <a:prstGeom prst="can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b="1" dirty="0">
                    <a:latin typeface="Montserrat Black" panose="00000A00000000000000" pitchFamily="2" charset="0"/>
                  </a:rPr>
                  <a:t>VOLUME</a:t>
                </a:r>
              </a:p>
            </p:txBody>
          </p:sp>
          <p:sp>
            <p:nvSpPr>
              <p:cNvPr id="211" name="Cylinder 210">
                <a:extLst>
                  <a:ext uri="{FF2B5EF4-FFF2-40B4-BE49-F238E27FC236}">
                    <a16:creationId xmlns:a16="http://schemas.microsoft.com/office/drawing/2014/main" id="{B1166D1E-E9C5-6301-18B2-193376571794}"/>
                  </a:ext>
                </a:extLst>
              </p:cNvPr>
              <p:cNvSpPr/>
              <p:nvPr/>
            </p:nvSpPr>
            <p:spPr>
              <a:xfrm>
                <a:off x="11845768" y="9157223"/>
                <a:ext cx="1204716" cy="1230558"/>
              </a:xfrm>
              <a:prstGeom prst="can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b="1" dirty="0">
                    <a:latin typeface="Montserrat Black" panose="00000A00000000000000" pitchFamily="2" charset="0"/>
                  </a:rPr>
                  <a:t>VOLUME</a:t>
                </a:r>
              </a:p>
            </p:txBody>
          </p:sp>
        </p:grpSp>
      </p:grpSp>
      <p:sp>
        <p:nvSpPr>
          <p:cNvPr id="213" name="Arrow: Right 212">
            <a:extLst>
              <a:ext uri="{FF2B5EF4-FFF2-40B4-BE49-F238E27FC236}">
                <a16:creationId xmlns:a16="http://schemas.microsoft.com/office/drawing/2014/main" id="{4115F3F8-9F46-4B7B-BBEF-149A1EC52AC7}"/>
              </a:ext>
            </a:extLst>
          </p:cNvPr>
          <p:cNvSpPr/>
          <p:nvPr/>
        </p:nvSpPr>
        <p:spPr>
          <a:xfrm rot="10800000">
            <a:off x="11980168" y="9775064"/>
            <a:ext cx="1845733" cy="1230558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Open Sans Light"/>
            </a:endParaRPr>
          </a:p>
        </p:txBody>
      </p:sp>
      <p:pic>
        <p:nvPicPr>
          <p:cNvPr id="217" name="Picture 216">
            <a:extLst>
              <a:ext uri="{FF2B5EF4-FFF2-40B4-BE49-F238E27FC236}">
                <a16:creationId xmlns:a16="http://schemas.microsoft.com/office/drawing/2014/main" id="{ADC80736-D5D5-A51F-CD32-51EC3F8209D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5003" y="9063464"/>
            <a:ext cx="2228490" cy="2228490"/>
          </a:xfrm>
          <a:prstGeom prst="rect">
            <a:avLst/>
          </a:prstGeom>
        </p:spPr>
      </p:pic>
      <p:pic>
        <p:nvPicPr>
          <p:cNvPr id="218" name="Picture 217">
            <a:extLst>
              <a:ext uri="{FF2B5EF4-FFF2-40B4-BE49-F238E27FC236}">
                <a16:creationId xmlns:a16="http://schemas.microsoft.com/office/drawing/2014/main" id="{AE8AB6AB-1982-F809-485E-B671F6F6780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368980" y="4606112"/>
            <a:ext cx="3738553" cy="535780"/>
          </a:xfrm>
          <a:prstGeom prst="rect">
            <a:avLst/>
          </a:prstGeom>
        </p:spPr>
      </p:pic>
      <p:sp>
        <p:nvSpPr>
          <p:cNvPr id="220" name="TextBox 219">
            <a:extLst>
              <a:ext uri="{FF2B5EF4-FFF2-40B4-BE49-F238E27FC236}">
                <a16:creationId xmlns:a16="http://schemas.microsoft.com/office/drawing/2014/main" id="{4F85D989-2653-A0A5-613C-573BE624EB48}"/>
              </a:ext>
            </a:extLst>
          </p:cNvPr>
          <p:cNvSpPr txBox="1"/>
          <p:nvPr/>
        </p:nvSpPr>
        <p:spPr>
          <a:xfrm>
            <a:off x="3331774" y="7123269"/>
            <a:ext cx="866845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  <a:cs typeface="Open Sans Light"/>
              </a:rPr>
              <a:t>3:1 block device reduction via logical volumes results in a 2:1 reduction in CPU and RAM requirements, that’s green storage.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E8C356B0-D13B-60DF-355B-E5DE1005B8A2}"/>
              </a:ext>
            </a:extLst>
          </p:cNvPr>
          <p:cNvSpPr/>
          <p:nvPr/>
        </p:nvSpPr>
        <p:spPr>
          <a:xfrm>
            <a:off x="19318514" y="12685486"/>
            <a:ext cx="4412343" cy="856343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Open Sans Light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B469775-871F-2945-64FC-A90AD9073575}"/>
              </a:ext>
            </a:extLst>
          </p:cNvPr>
          <p:cNvSpPr/>
          <p:nvPr/>
        </p:nvSpPr>
        <p:spPr>
          <a:xfrm>
            <a:off x="10722634" y="2027209"/>
            <a:ext cx="2380892" cy="733246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800"/>
            <a:endParaRPr lang="en-US" dirty="0">
              <a:solidFill>
                <a:srgbClr val="FFFFFF"/>
              </a:solidFill>
              <a:latin typeface="Open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38668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3" grpId="0" animBg="1"/>
      <p:bldP spid="220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B388F3-86FD-F37B-7953-AA8738AE30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8000" b="1" dirty="0"/>
              <a:t>Q&amp;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2026491-ACFC-A285-A427-314A23CDA82F}"/>
              </a:ext>
            </a:extLst>
          </p:cNvPr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r>
              <a:rPr lang="en-US" dirty="0"/>
              <a:t>Resources &amp; Quote Requests</a:t>
            </a:r>
          </a:p>
          <a:p>
            <a:pPr lvl="1"/>
            <a:r>
              <a:rPr lang="en-US" dirty="0"/>
              <a:t>Scale-out Solution Designer</a:t>
            </a:r>
          </a:p>
          <a:p>
            <a:pPr lvl="2"/>
            <a:r>
              <a:rPr lang="en-US" dirty="0">
                <a:hlinkClick r:id="rId2"/>
              </a:rPr>
              <a:t>https://link.osnexus.com/stx-scale-out</a:t>
            </a:r>
            <a:endParaRPr lang="en-US" dirty="0"/>
          </a:p>
          <a:p>
            <a:pPr lvl="1"/>
            <a:r>
              <a:rPr lang="en-US" dirty="0"/>
              <a:t>Scale-up Solution Designer</a:t>
            </a:r>
          </a:p>
          <a:p>
            <a:pPr lvl="2"/>
            <a:r>
              <a:rPr lang="en-US" dirty="0">
                <a:hlinkClick r:id="rId3"/>
              </a:rPr>
              <a:t>https://link.osnexus.com/stx-scale-up</a:t>
            </a:r>
            <a:endParaRPr lang="en-US" dirty="0"/>
          </a:p>
          <a:p>
            <a:pPr lvl="2"/>
            <a:endParaRPr lang="en-US" dirty="0"/>
          </a:p>
          <a:p>
            <a:pPr lvl="1"/>
            <a:r>
              <a:rPr lang="en-US" dirty="0"/>
              <a:t>More Information</a:t>
            </a:r>
          </a:p>
          <a:p>
            <a:pPr lvl="2"/>
            <a:r>
              <a:rPr lang="en-US" dirty="0">
                <a:hlinkClick r:id="rId4"/>
              </a:rPr>
              <a:t>info@osnexus.com</a:t>
            </a:r>
            <a:endParaRPr lang="en-US" dirty="0"/>
          </a:p>
          <a:p>
            <a:pPr lvl="2"/>
            <a:r>
              <a:rPr lang="en-US" dirty="0">
                <a:hlinkClick r:id="rId5"/>
              </a:rPr>
              <a:t>https://www.seagate.com/solutions/osnexus/</a:t>
            </a:r>
            <a:endParaRPr lang="en-US" dirty="0"/>
          </a:p>
          <a:p>
            <a:pPr lvl="2"/>
            <a:r>
              <a:rPr lang="en-US" dirty="0">
                <a:hlinkClick r:id="rId6"/>
              </a:rPr>
              <a:t>https://www.osnexus.com</a:t>
            </a: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9EE0E44-8DF2-DD18-45A7-FCA78A966C06}"/>
              </a:ext>
            </a:extLst>
          </p:cNvPr>
          <p:cNvSpPr/>
          <p:nvPr/>
        </p:nvSpPr>
        <p:spPr>
          <a:xfrm>
            <a:off x="18737451" y="12414251"/>
            <a:ext cx="4742481" cy="1101723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Open Sans Light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BE884DC-6DF6-7B13-BD9C-12CBBE2C27FB}"/>
              </a:ext>
            </a:extLst>
          </p:cNvPr>
          <p:cNvGrpSpPr/>
          <p:nvPr/>
        </p:nvGrpSpPr>
        <p:grpSpPr>
          <a:xfrm>
            <a:off x="16702923" y="12493172"/>
            <a:ext cx="6625077" cy="1069910"/>
            <a:chOff x="16702923" y="12493172"/>
            <a:chExt cx="6625077" cy="1069910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AE99B21D-768D-7D39-7446-FB70C5357F1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6702923" y="12493172"/>
              <a:ext cx="3864456" cy="1069910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6348512B-9901-FCBF-DB31-E771A7595AA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1104152" y="12826874"/>
              <a:ext cx="2223848" cy="39283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89163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4641B4F9-37A1-2130-586B-1288AAAB92A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65018" y="4369683"/>
            <a:ext cx="2135672" cy="95393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AF83A59-0E0F-810E-EF1A-D371093F4C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6000" b="1" dirty="0"/>
              <a:t>Flexible Storage Solution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FCC9F1E-11FC-F525-77F5-1CC63D40812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2176" y="7411919"/>
            <a:ext cx="2135672" cy="96105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ED310F45-88B5-7B36-0065-31C3E68D020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8369" y="3796393"/>
            <a:ext cx="2148514" cy="38673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34621BE2-925A-83B7-AB37-3FD3B055D94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66994" y="4371829"/>
            <a:ext cx="2135672" cy="95393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75828BB-71A7-F676-56E8-723E6FBD685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52177" y="6885530"/>
            <a:ext cx="2129490" cy="3833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0BE7C02-14C4-180D-836F-4DA307AEBF1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2177" y="8516052"/>
            <a:ext cx="2129482" cy="383308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333C4E85-2F82-D5B4-6F7B-30FC1A57851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2177" y="5440389"/>
            <a:ext cx="2148514" cy="386734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4B34BC25-A03A-89E8-2005-A1D4E9625F8E}"/>
              </a:ext>
            </a:extLst>
          </p:cNvPr>
          <p:cNvGrpSpPr>
            <a:grpSpLocks/>
          </p:cNvGrpSpPr>
          <p:nvPr/>
        </p:nvGrpSpPr>
        <p:grpSpPr>
          <a:xfrm>
            <a:off x="19623558" y="5827123"/>
            <a:ext cx="3817084" cy="2479658"/>
            <a:chOff x="7202486" y="4939926"/>
            <a:chExt cx="973139" cy="563563"/>
          </a:xfrm>
        </p:grpSpPr>
        <p:pic>
          <p:nvPicPr>
            <p:cNvPr id="14" name="Graphic 66">
              <a:extLst>
                <a:ext uri="{FF2B5EF4-FFF2-40B4-BE49-F238E27FC236}">
                  <a16:creationId xmlns:a16="http://schemas.microsoft.com/office/drawing/2014/main" id="{CC77E3DB-C11D-319D-14FE-D08EC2F07A9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7202486" y="4939926"/>
              <a:ext cx="973139" cy="563563"/>
            </a:xfrm>
            <a:prstGeom prst="rect">
              <a:avLst/>
            </a:prstGeom>
          </p:spPr>
        </p:pic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4FF69F33-19F2-5E25-9AD1-43EEFEC71C3E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392304" y="5100583"/>
              <a:ext cx="593504" cy="332179"/>
            </a:xfrm>
            <a:prstGeom prst="rect">
              <a:avLst/>
            </a:prstGeom>
          </p:spPr>
        </p:pic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222A33B4-81D2-7C59-ACB0-7C156C865651}"/>
              </a:ext>
            </a:extLst>
          </p:cNvPr>
          <p:cNvSpPr txBox="1"/>
          <p:nvPr/>
        </p:nvSpPr>
        <p:spPr>
          <a:xfrm>
            <a:off x="621325" y="4354576"/>
            <a:ext cx="2301490" cy="830997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 defTabSz="1828800"/>
            <a:r>
              <a:rPr lang="en-US" sz="2400" dirty="0">
                <a:solidFill>
                  <a:srgbClr val="FFFFFF"/>
                </a:solidFill>
                <a:latin typeface="Arial" panose="020B0604020202020204"/>
              </a:rPr>
              <a:t>Seagate </a:t>
            </a:r>
          </a:p>
          <a:p>
            <a:pPr algn="ctr" defTabSz="1828800"/>
            <a:r>
              <a:rPr lang="en-US" sz="2400" dirty="0">
                <a:solidFill>
                  <a:srgbClr val="FFFFFF"/>
                </a:solidFill>
                <a:latin typeface="Arial" panose="020B0604020202020204"/>
              </a:rPr>
              <a:t>AP System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5179D20-FB1D-0547-65B0-E492ACE4B8B4}"/>
              </a:ext>
            </a:extLst>
          </p:cNvPr>
          <p:cNvSpPr txBox="1"/>
          <p:nvPr/>
        </p:nvSpPr>
        <p:spPr>
          <a:xfrm>
            <a:off x="621325" y="7411919"/>
            <a:ext cx="2301490" cy="830997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 defTabSz="1828800"/>
            <a:r>
              <a:rPr lang="en-US" sz="2400" dirty="0">
                <a:solidFill>
                  <a:srgbClr val="FFFFFF"/>
                </a:solidFill>
                <a:latin typeface="Arial" panose="020B0604020202020204"/>
              </a:rPr>
              <a:t>Seagate JBOD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00A5164-D37A-BA92-42B0-FD22E4E0345B}"/>
              </a:ext>
            </a:extLst>
          </p:cNvPr>
          <p:cNvSpPr txBox="1"/>
          <p:nvPr/>
        </p:nvSpPr>
        <p:spPr>
          <a:xfrm>
            <a:off x="621325" y="9778964"/>
            <a:ext cx="2301490" cy="830997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 defTabSz="1828800"/>
            <a:r>
              <a:rPr lang="en-US" sz="2400" dirty="0">
                <a:solidFill>
                  <a:srgbClr val="FFFFFF"/>
                </a:solidFill>
                <a:latin typeface="Arial" panose="020B0604020202020204"/>
              </a:rPr>
              <a:t>Seagate CORVAULT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C93AACEC-9B4F-17EB-FC60-B93405991B1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8369" y="3807241"/>
            <a:ext cx="2148514" cy="386734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B825FB1D-8EC9-F10B-ECA2-CD5CF8E7400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49742" y="6880141"/>
            <a:ext cx="2148520" cy="386734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CE86603A-6151-08E9-6050-91BBC3A3960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5986" y="7407189"/>
            <a:ext cx="2135672" cy="961054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2F83173D-C889-769A-7250-71A30290DFD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65019" y="3796405"/>
            <a:ext cx="2148514" cy="386734"/>
          </a:xfrm>
          <a:prstGeom prst="rect">
            <a:avLst/>
          </a:prstGeom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709D7330-E5EA-B141-9B7E-B629FA1FDB32}"/>
              </a:ext>
            </a:extLst>
          </p:cNvPr>
          <p:cNvSpPr txBox="1"/>
          <p:nvPr/>
        </p:nvSpPr>
        <p:spPr>
          <a:xfrm>
            <a:off x="8790522" y="3274630"/>
            <a:ext cx="3760912" cy="1569660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 defTabSz="1828800"/>
            <a:r>
              <a:rPr lang="en-US" sz="2400" dirty="0" err="1">
                <a:solidFill>
                  <a:srgbClr val="FFFFFF"/>
                </a:solidFill>
                <a:latin typeface="Arial" panose="020B0604020202020204"/>
              </a:rPr>
              <a:t>Seagate+QuantaStor</a:t>
            </a:r>
            <a:endParaRPr lang="en-US" sz="2400" dirty="0">
              <a:solidFill>
                <a:srgbClr val="FFFFFF"/>
              </a:solidFill>
              <a:latin typeface="Arial" panose="020B0604020202020204"/>
            </a:endParaRPr>
          </a:p>
          <a:p>
            <a:pPr algn="ctr" defTabSz="1828800"/>
            <a:r>
              <a:rPr lang="en-US" sz="2400" dirty="0">
                <a:solidFill>
                  <a:srgbClr val="FFFFFF"/>
                </a:solidFill>
                <a:latin typeface="Arial" panose="020B0604020202020204"/>
              </a:rPr>
              <a:t>Scale-up</a:t>
            </a:r>
            <a:br>
              <a:rPr lang="en-US" sz="2400" dirty="0">
                <a:solidFill>
                  <a:srgbClr val="FFFFFF"/>
                </a:solidFill>
                <a:latin typeface="Arial" panose="020B0604020202020204"/>
              </a:rPr>
            </a:br>
            <a:r>
              <a:rPr lang="en-US" sz="2400" dirty="0">
                <a:solidFill>
                  <a:srgbClr val="FFFFFF"/>
                </a:solidFill>
                <a:latin typeface="Arial" panose="020B0604020202020204"/>
              </a:rPr>
              <a:t>File &amp; Block </a:t>
            </a:r>
          </a:p>
          <a:p>
            <a:pPr algn="ctr" defTabSz="1828800"/>
            <a:r>
              <a:rPr lang="en-US" sz="2400" dirty="0">
                <a:solidFill>
                  <a:srgbClr val="FFFFFF"/>
                </a:solidFill>
                <a:latin typeface="Arial" panose="020B0604020202020204"/>
              </a:rPr>
              <a:t>Storage Clusters</a:t>
            </a: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F09776F6-E610-723B-4080-959734A7F0C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77862" y="4376581"/>
            <a:ext cx="2135672" cy="953934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3626E120-5202-4A40-24A0-6AD3657AC43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88730" y="4382665"/>
            <a:ext cx="2135672" cy="953934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34EBB2CF-82CF-7D42-1746-461A0005B85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78128" y="4384887"/>
            <a:ext cx="2135672" cy="953934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A3F4A66E-61CF-A5F7-E37A-E78936D83E35}"/>
              </a:ext>
            </a:extLst>
          </p:cNvPr>
          <p:cNvSpPr txBox="1"/>
          <p:nvPr/>
        </p:nvSpPr>
        <p:spPr>
          <a:xfrm>
            <a:off x="13506296" y="3274630"/>
            <a:ext cx="3760912" cy="1569660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 defTabSz="1828800"/>
            <a:r>
              <a:rPr lang="en-US" sz="2400" dirty="0" err="1">
                <a:solidFill>
                  <a:srgbClr val="FFFFFF"/>
                </a:solidFill>
                <a:latin typeface="Arial" panose="020B0604020202020204"/>
              </a:rPr>
              <a:t>Seagate+QuantaStor</a:t>
            </a:r>
            <a:endParaRPr lang="en-US" sz="2400" dirty="0">
              <a:solidFill>
                <a:srgbClr val="FFFFFF"/>
              </a:solidFill>
              <a:latin typeface="Arial" panose="020B0604020202020204"/>
            </a:endParaRPr>
          </a:p>
          <a:p>
            <a:pPr algn="ctr" defTabSz="1828800"/>
            <a:r>
              <a:rPr lang="en-US" sz="2400" dirty="0">
                <a:solidFill>
                  <a:srgbClr val="FFFFFF"/>
                </a:solidFill>
                <a:latin typeface="Arial" panose="020B0604020202020204"/>
              </a:rPr>
              <a:t>Scale-out</a:t>
            </a:r>
            <a:br>
              <a:rPr lang="en-US" sz="2400" dirty="0">
                <a:solidFill>
                  <a:srgbClr val="FFFFFF"/>
                </a:solidFill>
                <a:latin typeface="Arial" panose="020B0604020202020204"/>
              </a:rPr>
            </a:br>
            <a:r>
              <a:rPr lang="en-US" sz="2400" dirty="0">
                <a:solidFill>
                  <a:srgbClr val="FFFFFF"/>
                </a:solidFill>
                <a:latin typeface="Arial" panose="020B0604020202020204"/>
              </a:rPr>
              <a:t>Object, File &amp; Block Storage Clusters</a:t>
            </a: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BF2C615F-B5B9-F305-C2C2-B4F90F89E71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45986" y="6886837"/>
            <a:ext cx="2148520" cy="386734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38BB4248-EA71-0EB4-3747-453ED300CEF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7863" y="3802361"/>
            <a:ext cx="2148514" cy="386734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E2BF8B67-A0B8-E815-09C3-02399AC7347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65019" y="3790619"/>
            <a:ext cx="2148514" cy="386734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6662E5D6-2684-75F4-10EB-257710F5AC3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69237" y="3794811"/>
            <a:ext cx="2148514" cy="386734"/>
          </a:xfrm>
          <a:prstGeom prst="rect">
            <a:avLst/>
          </a:prstGeom>
        </p:spPr>
      </p:pic>
      <p:sp>
        <p:nvSpPr>
          <p:cNvPr id="43" name="Rectangle 42">
            <a:extLst>
              <a:ext uri="{FF2B5EF4-FFF2-40B4-BE49-F238E27FC236}">
                <a16:creationId xmlns:a16="http://schemas.microsoft.com/office/drawing/2014/main" id="{BF91E852-7FFB-E809-AB05-14B485213554}"/>
              </a:ext>
            </a:extLst>
          </p:cNvPr>
          <p:cNvSpPr/>
          <p:nvPr/>
        </p:nvSpPr>
        <p:spPr>
          <a:xfrm>
            <a:off x="8108831" y="2872595"/>
            <a:ext cx="9747850" cy="10275625"/>
          </a:xfrm>
          <a:prstGeom prst="rect">
            <a:avLst/>
          </a:prstGeom>
          <a:noFill/>
          <a:ln w="57150">
            <a:solidFill>
              <a:schemeClr val="bg2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800"/>
            <a:endParaRPr lang="en-US" dirty="0">
              <a:solidFill>
                <a:srgbClr val="FFFFFF"/>
              </a:solidFill>
              <a:latin typeface="Open Sans Light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5A8B0022-FE34-F6B9-6B8B-A71BAF107979}"/>
              </a:ext>
            </a:extLst>
          </p:cNvPr>
          <p:cNvSpPr/>
          <p:nvPr/>
        </p:nvSpPr>
        <p:spPr>
          <a:xfrm>
            <a:off x="10722634" y="2027209"/>
            <a:ext cx="2380892" cy="733246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800"/>
            <a:endParaRPr lang="en-US" dirty="0">
              <a:solidFill>
                <a:srgbClr val="FFFFFF"/>
              </a:solidFill>
              <a:latin typeface="Open Sans Light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D8A3927E-2269-8B71-9B7B-5FC3E9D2B52E}"/>
              </a:ext>
            </a:extLst>
          </p:cNvPr>
          <p:cNvSpPr txBox="1"/>
          <p:nvPr/>
        </p:nvSpPr>
        <p:spPr>
          <a:xfrm>
            <a:off x="10776601" y="12529719"/>
            <a:ext cx="4412310" cy="461665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 defTabSz="1828800"/>
            <a:r>
              <a:rPr lang="en-US" sz="2400" dirty="0">
                <a:solidFill>
                  <a:srgbClr val="FFFFFF"/>
                </a:solidFill>
                <a:latin typeface="Arial" panose="020B0604020202020204"/>
              </a:rPr>
              <a:t>QuantaStor Storage Grid</a:t>
            </a:r>
          </a:p>
        </p:txBody>
      </p:sp>
      <p:sp>
        <p:nvSpPr>
          <p:cNvPr id="47" name="Arrow: Right 46">
            <a:extLst>
              <a:ext uri="{FF2B5EF4-FFF2-40B4-BE49-F238E27FC236}">
                <a16:creationId xmlns:a16="http://schemas.microsoft.com/office/drawing/2014/main" id="{E6E419CB-E211-4A33-C3A0-35AB446DD97F}"/>
              </a:ext>
            </a:extLst>
          </p:cNvPr>
          <p:cNvSpPr/>
          <p:nvPr/>
        </p:nvSpPr>
        <p:spPr>
          <a:xfrm>
            <a:off x="16862156" y="6635383"/>
            <a:ext cx="2341457" cy="1500842"/>
          </a:xfrm>
          <a:prstGeom prst="rightArrow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800"/>
            <a:r>
              <a:rPr lang="en-US" sz="2200" b="1" dirty="0">
                <a:solidFill>
                  <a:srgbClr val="FFFFFF"/>
                </a:solidFill>
                <a:latin typeface="Open Sans Light"/>
              </a:rPr>
              <a:t>Auto Tiering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1C82D437-1399-C6A4-3B31-CEBCA0E0328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7394" y="9835786"/>
            <a:ext cx="2147112" cy="772960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177A05BB-4720-3B1C-7942-331FDA9B9695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5982" y="10753186"/>
            <a:ext cx="2135676" cy="961054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491976DC-57C9-0434-EF04-3574F94DD32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7394" y="9835786"/>
            <a:ext cx="2147112" cy="772960"/>
          </a:xfrm>
          <a:prstGeom prst="rect">
            <a:avLst/>
          </a:prstGeom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17A677AC-5CD0-B4ED-D67D-E4BD80405529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7394" y="9835786"/>
            <a:ext cx="2147112" cy="772960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97C9CB4E-C9C6-A36E-6A7D-DBC8EA9735EB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5982" y="10753186"/>
            <a:ext cx="2135676" cy="961054"/>
          </a:xfrm>
          <a:prstGeom prst="rect">
            <a:avLst/>
          </a:prstGeom>
        </p:spPr>
      </p:pic>
      <p:pic>
        <p:nvPicPr>
          <p:cNvPr id="50" name="Picture 49">
            <a:extLst>
              <a:ext uri="{FF2B5EF4-FFF2-40B4-BE49-F238E27FC236}">
                <a16:creationId xmlns:a16="http://schemas.microsoft.com/office/drawing/2014/main" id="{939E14DE-ECA3-EB32-0C01-C9885C1B589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5982" y="10753186"/>
            <a:ext cx="2135676" cy="961054"/>
          </a:xfrm>
          <a:prstGeom prst="rect">
            <a:avLst/>
          </a:prstGeom>
        </p:spPr>
      </p:pic>
      <p:pic>
        <p:nvPicPr>
          <p:cNvPr id="51" name="Picture 50">
            <a:extLst>
              <a:ext uri="{FF2B5EF4-FFF2-40B4-BE49-F238E27FC236}">
                <a16:creationId xmlns:a16="http://schemas.microsoft.com/office/drawing/2014/main" id="{8643287C-48D4-4E09-21B2-DED6CA35B9C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5982" y="10753186"/>
            <a:ext cx="2135676" cy="9610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6874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39583E-6 3.33333E-6 L 0.25951 0.10416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975" y="5208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77083E-6 0.00174 L 0.2599 -0.09039 " pathEditMode="relative" rAng="0" ptsTypes="AA">
                                      <p:cBhvr>
                                        <p:cTn id="11" dur="2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995" y="-4606"/>
                                    </p:animMotion>
                                  </p:childTnLst>
                                </p:cTn>
                              </p:par>
                              <p:par>
                                <p:cTn id="12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5E-6 -2.22222E-6 L 0.25905 0.19942 " pathEditMode="relative" rAng="0" ptsTypes="AA">
                                      <p:cBhvr>
                                        <p:cTn id="13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949" y="9965"/>
                                    </p:animMotion>
                                  </p:childTnLst>
                                </p:cTn>
                              </p:par>
                              <p:par>
                                <p:cTn id="14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5625E-6 0.00174 L 0.26003 -0.06192 " pathEditMode="relative" rAng="0" ptsTypes="AA">
                                      <p:cBhvr>
                                        <p:cTn id="15" dur="2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3001" y="-3183"/>
                                    </p:animMotion>
                                  </p:childTnLst>
                                </p:cTn>
                              </p:par>
                              <p:par>
                                <p:cTn id="16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13 0 L 0.25996 0.04572 " pathEditMode="relative" rAng="0" ptsTypes="AA">
                                      <p:cBhvr>
                                        <p:cTn id="17" dur="2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3060" y="2280"/>
                                    </p:animMotion>
                                  </p:childTnLst>
                                </p:cTn>
                              </p:par>
                              <p:par>
                                <p:cTn id="18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8125E-6 3.51852E-6 L 0.2584 0.4221 " pathEditMode="relative" rAng="0" ptsTypes="AA">
                                      <p:cBhvr>
                                        <p:cTn id="19" dur="2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917" y="21100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-4.62963E-6 L 0.25976 0.01019 " pathEditMode="relative" rAng="0" ptsTypes="AA">
                                      <p:cBhvr>
                                        <p:cTn id="21" dur="2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988" y="509"/>
                                    </p:animMotion>
                                  </p:childTnLst>
                                </p:cTn>
                              </p:par>
                              <p:par>
                                <p:cTn id="22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-4.62963E-6 L 0.25983 0.06575 " pathEditMode="relative" rAng="0" ptsTypes="AA">
                                      <p:cBhvr>
                                        <p:cTn id="23" dur="2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988" y="3287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22917E-6 5.55556E-7 L 0.45215 0.05718 " pathEditMode="relative" rAng="0" ptsTypes="AA">
                                      <p:cBhvr>
                                        <p:cTn id="29" dur="2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2604" y="2859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04167E-6 -2.40741E-6 L 0.45169 0.19479 " pathEditMode="relative" rAng="0" ptsTypes="AA">
                                      <p:cBhvr>
                                        <p:cTn id="31" dur="2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2585" y="9734"/>
                                    </p:animMotion>
                                  </p:childTnLst>
                                </p:cTn>
                              </p:par>
                              <p:par>
                                <p:cTn id="32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22917E-6 1.85185E-6 L 0.45215 0.12673 " pathEditMode="relative" rAng="0" ptsTypes="AA">
                                      <p:cBhvr>
                                        <p:cTn id="33" dur="2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2604" y="6331"/>
                                    </p:animMotion>
                                  </p:childTnLst>
                                </p:cTn>
                              </p:par>
                              <p:par>
                                <p:cTn id="34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143 0.01481 L 0.45293 0.44062 " pathEditMode="relative" rAng="0" ptsTypes="AA">
                                      <p:cBhvr>
                                        <p:cTn id="35" dur="2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2715" y="21285"/>
                                    </p:animMotion>
                                  </p:childTnLst>
                                </p:cTn>
                              </p:par>
                              <p:par>
                                <p:cTn id="36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8125E-6 -0.01655 L 0.45345 0.34294 " pathEditMode="relative" rAng="0" ptsTypes="AA">
                                      <p:cBhvr>
                                        <p:cTn id="37" dur="2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2669" y="17975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875E-6 -7.40741E-7 L 0.45364 0.54063 " pathEditMode="relative" rAng="0" ptsTypes="AA">
                                      <p:cBhvr>
                                        <p:cTn id="39" dur="2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2682" y="27025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14583E-6 -1.48148E-6 L 0.45475 0.06111 " pathEditMode="relative" rAng="0" ptsTypes="AA">
                                      <p:cBhvr>
                                        <p:cTn id="41" dur="2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2734" y="3056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14583E-6 -1.48148E-6 L 0.45449 -0.03738 " pathEditMode="relative" rAng="0" ptsTypes="AA">
                                      <p:cBhvr>
                                        <p:cTn id="43" dur="2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2721" y="-1875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14583E-6 -1.48148E-6 L 0.45449 -0.1368 " pathEditMode="relative" rAng="0" ptsTypes="AA">
                                      <p:cBhvr>
                                        <p:cTn id="45" dur="2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2721" y="-684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4000"/>
                            </p:stCondLst>
                            <p:childTnLst>
                              <p:par>
                                <p:cTn id="4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4500"/>
                            </p:stCondLst>
                            <p:childTnLst>
                              <p:par>
                                <p:cTn id="5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5000"/>
                            </p:stCondLst>
                            <p:childTnLst>
                              <p:par>
                                <p:cTn id="5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/>
      <p:bldP spid="35" grpId="0"/>
      <p:bldP spid="43" grpId="0" animBg="1"/>
      <p:bldP spid="46" grpId="0"/>
      <p:bldP spid="47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9C840D0-BE14-1642-B89D-AA5AC39C11C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603797" y="3192157"/>
            <a:ext cx="10103406" cy="5113702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+mj-lt"/>
                <a:ea typeface="Source Sans Pro" panose="020B0503030403020204" pitchFamily="34" charset="0"/>
              </a:rPr>
              <a:t>QuantaStor systems have a built-in distributed control plane referred to as the “storage grid”.   </a:t>
            </a:r>
          </a:p>
          <a:p>
            <a:endParaRPr lang="en-US" dirty="0">
              <a:solidFill>
                <a:schemeClr val="bg1"/>
              </a:solidFill>
              <a:latin typeface="+mj-lt"/>
              <a:ea typeface="Source Sans Pro" panose="020B0503030403020204" pitchFamily="34" charset="0"/>
            </a:endParaRPr>
          </a:p>
          <a:p>
            <a:r>
              <a:rPr lang="en-US" dirty="0">
                <a:solidFill>
                  <a:schemeClr val="bg1"/>
                </a:solidFill>
                <a:latin typeface="+mj-lt"/>
                <a:ea typeface="Source Sans Pro" panose="020B0503030403020204" pitchFamily="34" charset="0"/>
              </a:rPr>
              <a:t>All systems within a storage grid provide web management, API, and CLI access simultaneously. </a:t>
            </a:r>
          </a:p>
          <a:p>
            <a:endParaRPr lang="en-US" dirty="0">
              <a:solidFill>
                <a:schemeClr val="bg1"/>
              </a:solidFill>
              <a:latin typeface="+mj-lt"/>
              <a:ea typeface="Source Sans Pro" panose="020B0503030403020204" pitchFamily="34" charset="0"/>
            </a:endParaRPr>
          </a:p>
          <a:p>
            <a:r>
              <a:rPr lang="en-US" dirty="0">
                <a:solidFill>
                  <a:schemeClr val="bg1"/>
                </a:solidFill>
                <a:latin typeface="+mj-lt"/>
                <a:ea typeface="Source Sans Pro" panose="020B0503030403020204" pitchFamily="34" charset="0"/>
              </a:rPr>
              <a:t>No additional software to install or maintain.</a:t>
            </a:r>
          </a:p>
          <a:p>
            <a:endParaRPr lang="en-US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B51E3E2-F849-F342-A0D8-2E8ECD887B9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US" dirty="0"/>
              <a:t>Unified Storage Management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3DB48512-5E8A-85F0-9526-A49DB5561D53}"/>
              </a:ext>
            </a:extLst>
          </p:cNvPr>
          <p:cNvGrpSpPr/>
          <p:nvPr/>
        </p:nvGrpSpPr>
        <p:grpSpPr>
          <a:xfrm>
            <a:off x="13071606" y="1364675"/>
            <a:ext cx="10629464" cy="5812378"/>
            <a:chOff x="12381593" y="4886037"/>
            <a:chExt cx="10264171" cy="5612629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8B6B7B92-AD26-F609-CDAF-6383D92A161D}"/>
                </a:ext>
              </a:extLst>
            </p:cNvPr>
            <p:cNvGrpSpPr/>
            <p:nvPr/>
          </p:nvGrpSpPr>
          <p:grpSpPr>
            <a:xfrm>
              <a:off x="12381593" y="4886037"/>
              <a:ext cx="10264171" cy="5612629"/>
              <a:chOff x="12381593" y="4886037"/>
              <a:chExt cx="10264171" cy="5612629"/>
            </a:xfrm>
          </p:grpSpPr>
          <p:pic>
            <p:nvPicPr>
              <p:cNvPr id="16" name="Picture 15">
                <a:extLst>
                  <a:ext uri="{FF2B5EF4-FFF2-40B4-BE49-F238E27FC236}">
                    <a16:creationId xmlns:a16="http://schemas.microsoft.com/office/drawing/2014/main" id="{330ACB85-C5F8-2244-C8A5-30DCDA3F56A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2381593" y="4886037"/>
                <a:ext cx="10264171" cy="5612629"/>
              </a:xfrm>
              <a:prstGeom prst="rect">
                <a:avLst/>
              </a:prstGeom>
            </p:spPr>
          </p:pic>
          <p:pic>
            <p:nvPicPr>
              <p:cNvPr id="17" name="Picture 16">
                <a:extLst>
                  <a:ext uri="{FF2B5EF4-FFF2-40B4-BE49-F238E27FC236}">
                    <a16:creationId xmlns:a16="http://schemas.microsoft.com/office/drawing/2014/main" id="{606487AD-AB57-B7B5-787F-1F9B6295E49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3664654" y="5612132"/>
                <a:ext cx="7663597" cy="3961521"/>
              </a:xfrm>
              <a:prstGeom prst="rect">
                <a:avLst/>
              </a:prstGeom>
            </p:spPr>
          </p:pic>
        </p:grp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738D2D9A-290A-C636-DAC6-588C20CF8E4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384161" y="7558389"/>
              <a:ext cx="1086322" cy="485225"/>
            </a:xfrm>
            <a:prstGeom prst="rect">
              <a:avLst/>
            </a:prstGeom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28C54D41-7260-D6F3-40D5-78FE107FCC4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819459" y="7560355"/>
              <a:ext cx="1328526" cy="235775"/>
            </a:xfrm>
            <a:prstGeom prst="rect">
              <a:avLst/>
            </a:prstGeom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6A331F47-6337-28BB-4D80-032E521C0D6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523487" y="7553517"/>
              <a:ext cx="1086322" cy="485225"/>
            </a:xfrm>
            <a:prstGeom prst="rect">
              <a:avLst/>
            </a:prstGeom>
          </p:spPr>
        </p:pic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39DFA439-37B1-91C0-5194-509AA2F1622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671473" y="7556451"/>
              <a:ext cx="1328526" cy="235775"/>
            </a:xfrm>
            <a:prstGeom prst="rect">
              <a:avLst/>
            </a:prstGeom>
          </p:spPr>
        </p:pic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1771C612-12FC-BF8E-EB77-40A24C877C3D}"/>
              </a:ext>
            </a:extLst>
          </p:cNvPr>
          <p:cNvGrpSpPr/>
          <p:nvPr/>
        </p:nvGrpSpPr>
        <p:grpSpPr>
          <a:xfrm>
            <a:off x="13053765" y="7475839"/>
            <a:ext cx="10629466" cy="5812378"/>
            <a:chOff x="1738237" y="4886037"/>
            <a:chExt cx="10264171" cy="5612629"/>
          </a:xfrm>
        </p:grpSpPr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3EDB7DFA-8649-BC0E-79D5-6ADB931C4CC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055749" y="5627683"/>
              <a:ext cx="7563109" cy="3945970"/>
            </a:xfrm>
            <a:prstGeom prst="rect">
              <a:avLst/>
            </a:prstGeom>
          </p:spPr>
        </p:pic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EF1D2E90-477B-8EC7-730C-1CEEE4454BFF}"/>
                </a:ext>
              </a:extLst>
            </p:cNvPr>
            <p:cNvGrpSpPr/>
            <p:nvPr/>
          </p:nvGrpSpPr>
          <p:grpSpPr>
            <a:xfrm>
              <a:off x="1738237" y="4886037"/>
              <a:ext cx="10264171" cy="5612629"/>
              <a:chOff x="1738237" y="4886037"/>
              <a:chExt cx="10264171" cy="5612629"/>
            </a:xfrm>
          </p:grpSpPr>
          <p:pic>
            <p:nvPicPr>
              <p:cNvPr id="21" name="Picture 20">
                <a:extLst>
                  <a:ext uri="{FF2B5EF4-FFF2-40B4-BE49-F238E27FC236}">
                    <a16:creationId xmlns:a16="http://schemas.microsoft.com/office/drawing/2014/main" id="{0910F40B-A715-C9BB-9A36-478EDD9E80E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738237" y="4886037"/>
                <a:ext cx="10264171" cy="5612629"/>
              </a:xfrm>
              <a:prstGeom prst="rect">
                <a:avLst/>
              </a:prstGeom>
            </p:spPr>
          </p:pic>
          <p:pic>
            <p:nvPicPr>
              <p:cNvPr id="22" name="Picture 21">
                <a:extLst>
                  <a:ext uri="{FF2B5EF4-FFF2-40B4-BE49-F238E27FC236}">
                    <a16:creationId xmlns:a16="http://schemas.microsoft.com/office/drawing/2014/main" id="{F385DF7F-1DF5-B52E-90C9-3E1BC569898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3055749" y="5627683"/>
                <a:ext cx="7563109" cy="3948200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3113370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Rectangle 110">
            <a:extLst>
              <a:ext uri="{FF2B5EF4-FFF2-40B4-BE49-F238E27FC236}">
                <a16:creationId xmlns:a16="http://schemas.microsoft.com/office/drawing/2014/main" id="{51387F67-18C2-47CF-866C-87EDF340A25B}"/>
              </a:ext>
            </a:extLst>
          </p:cNvPr>
          <p:cNvSpPr/>
          <p:nvPr/>
        </p:nvSpPr>
        <p:spPr>
          <a:xfrm>
            <a:off x="11001554" y="2192153"/>
            <a:ext cx="2380892" cy="733246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800"/>
            <a:endParaRPr lang="en-US" dirty="0">
              <a:solidFill>
                <a:srgbClr val="FFFFFF"/>
              </a:solidFill>
              <a:latin typeface="Open Sans Ligh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AF83A59-0E0F-810E-EF1A-D371093F4C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6400" dirty="0"/>
              <a:t>Unified Multi-site Management &amp; Security Enforcement</a:t>
            </a:r>
          </a:p>
        </p:txBody>
      </p:sp>
      <p:grpSp>
        <p:nvGrpSpPr>
          <p:cNvPr id="117" name="Group 116">
            <a:extLst>
              <a:ext uri="{FF2B5EF4-FFF2-40B4-BE49-F238E27FC236}">
                <a16:creationId xmlns:a16="http://schemas.microsoft.com/office/drawing/2014/main" id="{644C7130-364A-6388-B7D9-8F9ED97A026C}"/>
              </a:ext>
            </a:extLst>
          </p:cNvPr>
          <p:cNvGrpSpPr/>
          <p:nvPr/>
        </p:nvGrpSpPr>
        <p:grpSpPr>
          <a:xfrm>
            <a:off x="4887924" y="2814235"/>
            <a:ext cx="13821096" cy="492444"/>
            <a:chOff x="2550642" y="6294558"/>
            <a:chExt cx="6910548" cy="246222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FBFCD8FE-DFD0-6D14-C3A0-A88CFF403083}"/>
                </a:ext>
              </a:extLst>
            </p:cNvPr>
            <p:cNvSpPr/>
            <p:nvPr/>
          </p:nvSpPr>
          <p:spPr>
            <a:xfrm>
              <a:off x="2550642" y="6294558"/>
              <a:ext cx="1005884" cy="246222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ctr" defTabSz="1828800"/>
              <a:r>
                <a:rPr lang="en-US" sz="3200" dirty="0">
                  <a:solidFill>
                    <a:srgbClr val="FFFFFF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</a:rPr>
                <a:t>Los Angeles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52C90A92-094E-4F69-BBFA-B7B0A79E81DB}"/>
                </a:ext>
              </a:extLst>
            </p:cNvPr>
            <p:cNvSpPr/>
            <p:nvPr/>
          </p:nvSpPr>
          <p:spPr>
            <a:xfrm>
              <a:off x="4722356" y="6294558"/>
              <a:ext cx="805509" cy="246222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ctr" defTabSz="1828800"/>
              <a:r>
                <a:rPr lang="en-US" sz="3200" dirty="0">
                  <a:solidFill>
                    <a:srgbClr val="FFFFFF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</a:rPr>
                <a:t>New York</a:t>
              </a: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BEB609A0-D5C9-97FC-E7BD-BABC4A208F1B}"/>
                </a:ext>
              </a:extLst>
            </p:cNvPr>
            <p:cNvSpPr/>
            <p:nvPr/>
          </p:nvSpPr>
          <p:spPr>
            <a:xfrm>
              <a:off x="6667192" y="6294558"/>
              <a:ext cx="771045" cy="246222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ctr" defTabSz="1828800"/>
              <a:r>
                <a:rPr lang="en-US" sz="3200" dirty="0">
                  <a:solidFill>
                    <a:srgbClr val="FFFFFF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</a:rPr>
                <a:t>Montreal</a:t>
              </a: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6731544C-12DE-7A50-35E6-FD454CC94DB3}"/>
                </a:ext>
              </a:extLst>
            </p:cNvPr>
            <p:cNvSpPr/>
            <p:nvPr/>
          </p:nvSpPr>
          <p:spPr>
            <a:xfrm>
              <a:off x="8766288" y="6294558"/>
              <a:ext cx="694902" cy="246222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ctr" defTabSz="1828800"/>
              <a:r>
                <a:rPr lang="en-US" sz="3200" dirty="0">
                  <a:solidFill>
                    <a:srgbClr val="FFFFFF"/>
                  </a:solidFill>
                  <a:latin typeface="Source Sans Pro" panose="020B0503030403020204" pitchFamily="34" charset="0"/>
                  <a:ea typeface="Source Sans Pro" panose="020B0503030403020204" pitchFamily="34" charset="0"/>
                </a:rPr>
                <a:t>Phoenix</a:t>
              </a:r>
            </a:p>
          </p:txBody>
        </p:sp>
      </p:grp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00E99F47-7183-DBFC-36CA-501F9A36D136}"/>
              </a:ext>
            </a:extLst>
          </p:cNvPr>
          <p:cNvGrpSpPr/>
          <p:nvPr/>
        </p:nvGrpSpPr>
        <p:grpSpPr>
          <a:xfrm>
            <a:off x="7000008" y="4990375"/>
            <a:ext cx="9714920" cy="4302030"/>
            <a:chOff x="3369391" y="2565800"/>
            <a:chExt cx="4857460" cy="2151015"/>
          </a:xfrm>
        </p:grpSpPr>
        <p:cxnSp>
          <p:nvCxnSpPr>
            <p:cNvPr id="49" name="Straight Arrow Connector 48">
              <a:extLst>
                <a:ext uri="{FF2B5EF4-FFF2-40B4-BE49-F238E27FC236}">
                  <a16:creationId xmlns:a16="http://schemas.microsoft.com/office/drawing/2014/main" id="{A2A57EC5-FAC7-F5CD-A3FC-FAE7594F5276}"/>
                </a:ext>
              </a:extLst>
            </p:cNvPr>
            <p:cNvCxnSpPr>
              <a:cxnSpLocks/>
            </p:cNvCxnSpPr>
            <p:nvPr/>
          </p:nvCxnSpPr>
          <p:spPr>
            <a:xfrm>
              <a:off x="3369391" y="3983549"/>
              <a:ext cx="919318" cy="733266"/>
            </a:xfrm>
            <a:prstGeom prst="straightConnector1">
              <a:avLst/>
            </a:prstGeom>
            <a:ln w="38100">
              <a:solidFill>
                <a:srgbClr val="93BF2C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Arrow Connector 49">
              <a:extLst>
                <a:ext uri="{FF2B5EF4-FFF2-40B4-BE49-F238E27FC236}">
                  <a16:creationId xmlns:a16="http://schemas.microsoft.com/office/drawing/2014/main" id="{FF8D762E-DAA9-3D88-C348-9DC89438D1B7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3485428" y="3761040"/>
              <a:ext cx="820509" cy="657121"/>
            </a:xfrm>
            <a:prstGeom prst="straightConnector1">
              <a:avLst/>
            </a:prstGeom>
            <a:ln w="38100">
              <a:solidFill>
                <a:srgbClr val="93BF2C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Arrow Connector 50">
              <a:extLst>
                <a:ext uri="{FF2B5EF4-FFF2-40B4-BE49-F238E27FC236}">
                  <a16:creationId xmlns:a16="http://schemas.microsoft.com/office/drawing/2014/main" id="{7A822526-06B1-13F0-E780-968E8DE35F2C}"/>
                </a:ext>
              </a:extLst>
            </p:cNvPr>
            <p:cNvCxnSpPr>
              <a:cxnSpLocks/>
            </p:cNvCxnSpPr>
            <p:nvPr/>
          </p:nvCxnSpPr>
          <p:spPr>
            <a:xfrm>
              <a:off x="7564116" y="3064865"/>
              <a:ext cx="662735" cy="0"/>
            </a:xfrm>
            <a:prstGeom prst="straightConnector1">
              <a:avLst/>
            </a:prstGeom>
            <a:ln w="38100">
              <a:solidFill>
                <a:srgbClr val="93BF2C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Arrow Connector 51">
              <a:extLst>
                <a:ext uri="{FF2B5EF4-FFF2-40B4-BE49-F238E27FC236}">
                  <a16:creationId xmlns:a16="http://schemas.microsoft.com/office/drawing/2014/main" id="{5D1CCB39-0E41-31D9-C490-490EABB411B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516217" y="2862999"/>
              <a:ext cx="710634" cy="0"/>
            </a:xfrm>
            <a:prstGeom prst="straightConnector1">
              <a:avLst/>
            </a:prstGeom>
            <a:ln w="38100">
              <a:solidFill>
                <a:srgbClr val="93BF2C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Arrow Connector 52">
              <a:extLst>
                <a:ext uri="{FF2B5EF4-FFF2-40B4-BE49-F238E27FC236}">
                  <a16:creationId xmlns:a16="http://schemas.microsoft.com/office/drawing/2014/main" id="{8C486B89-175D-0434-4150-5F795853CAAD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3464016" y="2565800"/>
              <a:ext cx="819682" cy="659518"/>
            </a:xfrm>
            <a:prstGeom prst="straightConnector1">
              <a:avLst/>
            </a:prstGeom>
            <a:ln w="38100">
              <a:solidFill>
                <a:srgbClr val="93BF2C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56" name="Picture 55">
            <a:extLst>
              <a:ext uri="{FF2B5EF4-FFF2-40B4-BE49-F238E27FC236}">
                <a16:creationId xmlns:a16="http://schemas.microsoft.com/office/drawing/2014/main" id="{4E342DB9-7526-CCF5-8237-23840633705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3088" y="3780908"/>
            <a:ext cx="2234772" cy="402260"/>
          </a:xfrm>
          <a:prstGeom prst="rect">
            <a:avLst/>
          </a:prstGeom>
        </p:spPr>
      </p:pic>
      <p:grpSp>
        <p:nvGrpSpPr>
          <p:cNvPr id="57" name="Group 56">
            <a:extLst>
              <a:ext uri="{FF2B5EF4-FFF2-40B4-BE49-F238E27FC236}">
                <a16:creationId xmlns:a16="http://schemas.microsoft.com/office/drawing/2014/main" id="{F10FA59B-3F0F-B714-776C-6AF02C0A1D29}"/>
              </a:ext>
            </a:extLst>
          </p:cNvPr>
          <p:cNvGrpSpPr/>
          <p:nvPr/>
        </p:nvGrpSpPr>
        <p:grpSpPr>
          <a:xfrm>
            <a:off x="4695639" y="4172077"/>
            <a:ext cx="2242222" cy="3006878"/>
            <a:chOff x="13947471" y="5046240"/>
            <a:chExt cx="1911448" cy="2563302"/>
          </a:xfrm>
        </p:grpSpPr>
        <p:pic>
          <p:nvPicPr>
            <p:cNvPr id="58" name="Picture 57">
              <a:extLst>
                <a:ext uri="{FF2B5EF4-FFF2-40B4-BE49-F238E27FC236}">
                  <a16:creationId xmlns:a16="http://schemas.microsoft.com/office/drawing/2014/main" id="{4EE034E2-74F6-36D6-D2A5-72C5595B43E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947471" y="5046240"/>
              <a:ext cx="1905098" cy="857294"/>
            </a:xfrm>
            <a:prstGeom prst="rect">
              <a:avLst/>
            </a:prstGeom>
          </p:spPr>
        </p:pic>
        <p:pic>
          <p:nvPicPr>
            <p:cNvPr id="59" name="Picture 58">
              <a:extLst>
                <a:ext uri="{FF2B5EF4-FFF2-40B4-BE49-F238E27FC236}">
                  <a16:creationId xmlns:a16="http://schemas.microsoft.com/office/drawing/2014/main" id="{015FE765-D284-1EDB-5E63-40D1F203A83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947471" y="5895979"/>
              <a:ext cx="1905098" cy="857294"/>
            </a:xfrm>
            <a:prstGeom prst="rect">
              <a:avLst/>
            </a:prstGeom>
          </p:spPr>
        </p:pic>
        <p:pic>
          <p:nvPicPr>
            <p:cNvPr id="60" name="Picture 59">
              <a:extLst>
                <a:ext uri="{FF2B5EF4-FFF2-40B4-BE49-F238E27FC236}">
                  <a16:creationId xmlns:a16="http://schemas.microsoft.com/office/drawing/2014/main" id="{D00D8BE0-F950-EB59-1D02-AD2F0C67387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953821" y="6752248"/>
              <a:ext cx="1905098" cy="857294"/>
            </a:xfrm>
            <a:prstGeom prst="rect">
              <a:avLst/>
            </a:prstGeom>
          </p:spPr>
        </p:pic>
      </p:grpSp>
      <p:pic>
        <p:nvPicPr>
          <p:cNvPr id="62" name="Picture 61">
            <a:extLst>
              <a:ext uri="{FF2B5EF4-FFF2-40B4-BE49-F238E27FC236}">
                <a16:creationId xmlns:a16="http://schemas.microsoft.com/office/drawing/2014/main" id="{AD375C44-DE22-5C35-741F-474CE066DE7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6848" y="7401628"/>
            <a:ext cx="2234772" cy="402260"/>
          </a:xfrm>
          <a:prstGeom prst="rect">
            <a:avLst/>
          </a:prstGeom>
        </p:spPr>
      </p:pic>
      <p:grpSp>
        <p:nvGrpSpPr>
          <p:cNvPr id="63" name="Group 62">
            <a:extLst>
              <a:ext uri="{FF2B5EF4-FFF2-40B4-BE49-F238E27FC236}">
                <a16:creationId xmlns:a16="http://schemas.microsoft.com/office/drawing/2014/main" id="{9255F1B2-5311-D97B-121F-13B19AC32915}"/>
              </a:ext>
            </a:extLst>
          </p:cNvPr>
          <p:cNvGrpSpPr/>
          <p:nvPr/>
        </p:nvGrpSpPr>
        <p:grpSpPr>
          <a:xfrm>
            <a:off x="4709401" y="7792797"/>
            <a:ext cx="2242222" cy="3006878"/>
            <a:chOff x="13947471" y="5046240"/>
            <a:chExt cx="1911448" cy="2563302"/>
          </a:xfrm>
        </p:grpSpPr>
        <p:pic>
          <p:nvPicPr>
            <p:cNvPr id="64" name="Picture 63">
              <a:extLst>
                <a:ext uri="{FF2B5EF4-FFF2-40B4-BE49-F238E27FC236}">
                  <a16:creationId xmlns:a16="http://schemas.microsoft.com/office/drawing/2014/main" id="{4C314B33-7F13-FAA0-D4B9-FC1A92CBBE7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947471" y="5046240"/>
              <a:ext cx="1905098" cy="857294"/>
            </a:xfrm>
            <a:prstGeom prst="rect">
              <a:avLst/>
            </a:prstGeom>
          </p:spPr>
        </p:pic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5059AD6F-91F5-53E5-6DC1-0E0C1C6FBF2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947471" y="5895979"/>
              <a:ext cx="1905098" cy="857294"/>
            </a:xfrm>
            <a:prstGeom prst="rect">
              <a:avLst/>
            </a:prstGeom>
          </p:spPr>
        </p:pic>
        <p:pic>
          <p:nvPicPr>
            <p:cNvPr id="66" name="Picture 65">
              <a:extLst>
                <a:ext uri="{FF2B5EF4-FFF2-40B4-BE49-F238E27FC236}">
                  <a16:creationId xmlns:a16="http://schemas.microsoft.com/office/drawing/2014/main" id="{A2BA2283-A19C-E33B-D3FB-81187F287DC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953821" y="6752248"/>
              <a:ext cx="1905098" cy="857294"/>
            </a:xfrm>
            <a:prstGeom prst="rect">
              <a:avLst/>
            </a:prstGeom>
          </p:spPr>
        </p:pic>
      </p:grpSp>
      <p:pic>
        <p:nvPicPr>
          <p:cNvPr id="68" name="Picture 67">
            <a:extLst>
              <a:ext uri="{FF2B5EF4-FFF2-40B4-BE49-F238E27FC236}">
                <a16:creationId xmlns:a16="http://schemas.microsoft.com/office/drawing/2014/main" id="{538EC4D7-3C2B-9E26-B425-5A53CD1D775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97120" y="6247498"/>
            <a:ext cx="2234772" cy="402260"/>
          </a:xfrm>
          <a:prstGeom prst="rect">
            <a:avLst/>
          </a:prstGeom>
        </p:spPr>
      </p:pic>
      <p:pic>
        <p:nvPicPr>
          <p:cNvPr id="69" name="Picture 68">
            <a:extLst>
              <a:ext uri="{FF2B5EF4-FFF2-40B4-BE49-F238E27FC236}">
                <a16:creationId xmlns:a16="http://schemas.microsoft.com/office/drawing/2014/main" id="{A532521C-229F-2FE5-94B0-E361B3DC07B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97120" y="6667043"/>
            <a:ext cx="2234772" cy="402258"/>
          </a:xfrm>
          <a:prstGeom prst="rect">
            <a:avLst/>
          </a:prstGeom>
        </p:spPr>
      </p:pic>
      <p:pic>
        <p:nvPicPr>
          <p:cNvPr id="70" name="Picture 69">
            <a:extLst>
              <a:ext uri="{FF2B5EF4-FFF2-40B4-BE49-F238E27FC236}">
                <a16:creationId xmlns:a16="http://schemas.microsoft.com/office/drawing/2014/main" id="{F48E1997-9954-16EA-870C-98970AA82C5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94242" y="7069303"/>
            <a:ext cx="2234772" cy="402258"/>
          </a:xfrm>
          <a:prstGeom prst="rect">
            <a:avLst/>
          </a:prstGeom>
        </p:spPr>
      </p:pic>
      <p:pic>
        <p:nvPicPr>
          <p:cNvPr id="72" name="Picture 71">
            <a:extLst>
              <a:ext uri="{FF2B5EF4-FFF2-40B4-BE49-F238E27FC236}">
                <a16:creationId xmlns:a16="http://schemas.microsoft.com/office/drawing/2014/main" id="{078BC2C0-709D-93EB-10F1-41EAC26AF96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97120" y="8862462"/>
            <a:ext cx="2234772" cy="402260"/>
          </a:xfrm>
          <a:prstGeom prst="rect">
            <a:avLst/>
          </a:prstGeom>
        </p:spPr>
      </p:pic>
      <p:pic>
        <p:nvPicPr>
          <p:cNvPr id="73" name="Picture 72">
            <a:extLst>
              <a:ext uri="{FF2B5EF4-FFF2-40B4-BE49-F238E27FC236}">
                <a16:creationId xmlns:a16="http://schemas.microsoft.com/office/drawing/2014/main" id="{F6341304-8231-BFD5-421C-83551EA478F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97120" y="9282007"/>
            <a:ext cx="2234772" cy="402258"/>
          </a:xfrm>
          <a:prstGeom prst="rect">
            <a:avLst/>
          </a:prstGeom>
        </p:spPr>
      </p:pic>
      <p:pic>
        <p:nvPicPr>
          <p:cNvPr id="74" name="Picture 73">
            <a:extLst>
              <a:ext uri="{FF2B5EF4-FFF2-40B4-BE49-F238E27FC236}">
                <a16:creationId xmlns:a16="http://schemas.microsoft.com/office/drawing/2014/main" id="{F6FAABE8-42BD-9C07-9AF9-BC142CDBB07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94242" y="9684265"/>
            <a:ext cx="2234772" cy="402258"/>
          </a:xfrm>
          <a:prstGeom prst="rect">
            <a:avLst/>
          </a:prstGeom>
        </p:spPr>
      </p:pic>
      <p:pic>
        <p:nvPicPr>
          <p:cNvPr id="76" name="Picture 75">
            <a:extLst>
              <a:ext uri="{FF2B5EF4-FFF2-40B4-BE49-F238E27FC236}">
                <a16:creationId xmlns:a16="http://schemas.microsoft.com/office/drawing/2014/main" id="{0427D923-A3AD-4803-5FB4-5AC1DCBA754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74894" y="3583055"/>
            <a:ext cx="2159920" cy="1225574"/>
          </a:xfrm>
          <a:prstGeom prst="rect">
            <a:avLst/>
          </a:prstGeom>
        </p:spPr>
      </p:pic>
      <p:pic>
        <p:nvPicPr>
          <p:cNvPr id="77" name="Picture 76">
            <a:extLst>
              <a:ext uri="{FF2B5EF4-FFF2-40B4-BE49-F238E27FC236}">
                <a16:creationId xmlns:a16="http://schemas.microsoft.com/office/drawing/2014/main" id="{EA4CA813-09FA-633E-DDB8-D8A50E78006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74894" y="4807161"/>
            <a:ext cx="2159920" cy="1225574"/>
          </a:xfrm>
          <a:prstGeom prst="rect">
            <a:avLst/>
          </a:prstGeom>
        </p:spPr>
      </p:pic>
      <p:pic>
        <p:nvPicPr>
          <p:cNvPr id="78" name="Picture 77">
            <a:extLst>
              <a:ext uri="{FF2B5EF4-FFF2-40B4-BE49-F238E27FC236}">
                <a16:creationId xmlns:a16="http://schemas.microsoft.com/office/drawing/2014/main" id="{11D2095F-5F6A-CCB9-4A70-FA390291FCB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74894" y="6033829"/>
            <a:ext cx="2159920" cy="1225574"/>
          </a:xfrm>
          <a:prstGeom prst="rect">
            <a:avLst/>
          </a:prstGeom>
        </p:spPr>
      </p:pic>
      <p:pic>
        <p:nvPicPr>
          <p:cNvPr id="79" name="Picture 78">
            <a:extLst>
              <a:ext uri="{FF2B5EF4-FFF2-40B4-BE49-F238E27FC236}">
                <a16:creationId xmlns:a16="http://schemas.microsoft.com/office/drawing/2014/main" id="{95611255-C053-4050-531F-04AA5BCF99B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74894" y="7253643"/>
            <a:ext cx="2159920" cy="1225574"/>
          </a:xfrm>
          <a:prstGeom prst="rect">
            <a:avLst/>
          </a:prstGeom>
        </p:spPr>
      </p:pic>
      <p:pic>
        <p:nvPicPr>
          <p:cNvPr id="80" name="Picture 79">
            <a:extLst>
              <a:ext uri="{FF2B5EF4-FFF2-40B4-BE49-F238E27FC236}">
                <a16:creationId xmlns:a16="http://schemas.microsoft.com/office/drawing/2014/main" id="{C654522B-9518-2956-A091-CF5265F9A20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74894" y="8476397"/>
            <a:ext cx="2159920" cy="1225574"/>
          </a:xfrm>
          <a:prstGeom prst="rect">
            <a:avLst/>
          </a:prstGeom>
        </p:spPr>
      </p:pic>
      <p:pic>
        <p:nvPicPr>
          <p:cNvPr id="81" name="Picture 80">
            <a:extLst>
              <a:ext uri="{FF2B5EF4-FFF2-40B4-BE49-F238E27FC236}">
                <a16:creationId xmlns:a16="http://schemas.microsoft.com/office/drawing/2014/main" id="{8B2B524A-7032-9021-7D83-B1DE3F40DED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74894" y="9680919"/>
            <a:ext cx="2159920" cy="1225574"/>
          </a:xfrm>
          <a:prstGeom prst="rect">
            <a:avLst/>
          </a:prstGeom>
        </p:spPr>
      </p:pic>
      <p:pic>
        <p:nvPicPr>
          <p:cNvPr id="83" name="Picture 82">
            <a:extLst>
              <a:ext uri="{FF2B5EF4-FFF2-40B4-BE49-F238E27FC236}">
                <a16:creationId xmlns:a16="http://schemas.microsoft.com/office/drawing/2014/main" id="{0084CCC9-89E9-F39A-1304-A3D9CBE050A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78331" y="3583054"/>
            <a:ext cx="2213802" cy="398484"/>
          </a:xfrm>
          <a:prstGeom prst="rect">
            <a:avLst/>
          </a:prstGeom>
        </p:spPr>
      </p:pic>
      <p:pic>
        <p:nvPicPr>
          <p:cNvPr id="84" name="Picture 83">
            <a:extLst>
              <a:ext uri="{FF2B5EF4-FFF2-40B4-BE49-F238E27FC236}">
                <a16:creationId xmlns:a16="http://schemas.microsoft.com/office/drawing/2014/main" id="{288A83E0-54FC-ABBD-F4A5-DF96E9E4A7F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78331" y="3972534"/>
            <a:ext cx="2213802" cy="398484"/>
          </a:xfrm>
          <a:prstGeom prst="rect">
            <a:avLst/>
          </a:prstGeom>
        </p:spPr>
      </p:pic>
      <p:pic>
        <p:nvPicPr>
          <p:cNvPr id="85" name="Picture 84">
            <a:extLst>
              <a:ext uri="{FF2B5EF4-FFF2-40B4-BE49-F238E27FC236}">
                <a16:creationId xmlns:a16="http://schemas.microsoft.com/office/drawing/2014/main" id="{DF71EA93-4AFD-2845-E361-B3445BB90D3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78331" y="4362014"/>
            <a:ext cx="2213802" cy="398484"/>
          </a:xfrm>
          <a:prstGeom prst="rect">
            <a:avLst/>
          </a:prstGeom>
        </p:spPr>
      </p:pic>
      <p:pic>
        <p:nvPicPr>
          <p:cNvPr id="86" name="Picture 85">
            <a:extLst>
              <a:ext uri="{FF2B5EF4-FFF2-40B4-BE49-F238E27FC236}">
                <a16:creationId xmlns:a16="http://schemas.microsoft.com/office/drawing/2014/main" id="{C3781268-EEF5-2DDD-FBD1-8CEAFC1E7AA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78331" y="4751494"/>
            <a:ext cx="2213802" cy="398484"/>
          </a:xfrm>
          <a:prstGeom prst="rect">
            <a:avLst/>
          </a:prstGeom>
        </p:spPr>
      </p:pic>
      <p:pic>
        <p:nvPicPr>
          <p:cNvPr id="87" name="Picture 86">
            <a:extLst>
              <a:ext uri="{FF2B5EF4-FFF2-40B4-BE49-F238E27FC236}">
                <a16:creationId xmlns:a16="http://schemas.microsoft.com/office/drawing/2014/main" id="{74CB7124-6652-9F53-2C35-7239324878D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78331" y="5140972"/>
            <a:ext cx="2213802" cy="398484"/>
          </a:xfrm>
          <a:prstGeom prst="rect">
            <a:avLst/>
          </a:prstGeom>
        </p:spPr>
      </p:pic>
      <p:pic>
        <p:nvPicPr>
          <p:cNvPr id="88" name="Picture 87">
            <a:extLst>
              <a:ext uri="{FF2B5EF4-FFF2-40B4-BE49-F238E27FC236}">
                <a16:creationId xmlns:a16="http://schemas.microsoft.com/office/drawing/2014/main" id="{A0330628-6B14-60C7-2B62-C5194F8875E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78331" y="5530452"/>
            <a:ext cx="2213802" cy="398484"/>
          </a:xfrm>
          <a:prstGeom prst="rect">
            <a:avLst/>
          </a:prstGeom>
        </p:spPr>
      </p:pic>
      <p:pic>
        <p:nvPicPr>
          <p:cNvPr id="89" name="Picture 88">
            <a:extLst>
              <a:ext uri="{FF2B5EF4-FFF2-40B4-BE49-F238E27FC236}">
                <a16:creationId xmlns:a16="http://schemas.microsoft.com/office/drawing/2014/main" id="{579E07B7-DE0F-47F5-3412-AA2EB1E51DC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78331" y="5919932"/>
            <a:ext cx="2213802" cy="398484"/>
          </a:xfrm>
          <a:prstGeom prst="rect">
            <a:avLst/>
          </a:prstGeom>
        </p:spPr>
      </p:pic>
      <p:pic>
        <p:nvPicPr>
          <p:cNvPr id="90" name="Picture 89">
            <a:extLst>
              <a:ext uri="{FF2B5EF4-FFF2-40B4-BE49-F238E27FC236}">
                <a16:creationId xmlns:a16="http://schemas.microsoft.com/office/drawing/2014/main" id="{A7B1366A-9B81-D3D0-0C7C-BA03A3CFAD0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78331" y="6309410"/>
            <a:ext cx="2213802" cy="398484"/>
          </a:xfrm>
          <a:prstGeom prst="rect">
            <a:avLst/>
          </a:prstGeom>
        </p:spPr>
      </p:pic>
      <p:pic>
        <p:nvPicPr>
          <p:cNvPr id="92" name="Picture 91">
            <a:extLst>
              <a:ext uri="{FF2B5EF4-FFF2-40B4-BE49-F238E27FC236}">
                <a16:creationId xmlns:a16="http://schemas.microsoft.com/office/drawing/2014/main" id="{6C1F8950-B282-501B-B8E8-651DC3C5B17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28712" y="7591820"/>
            <a:ext cx="2234772" cy="402260"/>
          </a:xfrm>
          <a:prstGeom prst="rect">
            <a:avLst/>
          </a:prstGeom>
        </p:spPr>
      </p:pic>
      <p:grpSp>
        <p:nvGrpSpPr>
          <p:cNvPr id="93" name="Group 92">
            <a:extLst>
              <a:ext uri="{FF2B5EF4-FFF2-40B4-BE49-F238E27FC236}">
                <a16:creationId xmlns:a16="http://schemas.microsoft.com/office/drawing/2014/main" id="{35ACC20C-DACD-8198-224F-924A6D77DE6B}"/>
              </a:ext>
            </a:extLst>
          </p:cNvPr>
          <p:cNvGrpSpPr/>
          <p:nvPr/>
        </p:nvGrpSpPr>
        <p:grpSpPr>
          <a:xfrm>
            <a:off x="16921263" y="7982991"/>
            <a:ext cx="2242222" cy="3006878"/>
            <a:chOff x="13947471" y="5046240"/>
            <a:chExt cx="1911448" cy="2563302"/>
          </a:xfrm>
        </p:grpSpPr>
        <p:pic>
          <p:nvPicPr>
            <p:cNvPr id="94" name="Picture 93">
              <a:extLst>
                <a:ext uri="{FF2B5EF4-FFF2-40B4-BE49-F238E27FC236}">
                  <a16:creationId xmlns:a16="http://schemas.microsoft.com/office/drawing/2014/main" id="{91A205C1-D45E-AD59-BC3D-0C7ECA77D1F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947471" y="5046240"/>
              <a:ext cx="1905098" cy="857294"/>
            </a:xfrm>
            <a:prstGeom prst="rect">
              <a:avLst/>
            </a:prstGeom>
          </p:spPr>
        </p:pic>
        <p:pic>
          <p:nvPicPr>
            <p:cNvPr id="95" name="Picture 94">
              <a:extLst>
                <a:ext uri="{FF2B5EF4-FFF2-40B4-BE49-F238E27FC236}">
                  <a16:creationId xmlns:a16="http://schemas.microsoft.com/office/drawing/2014/main" id="{3E02660D-FC1D-951F-366F-E822CEB3389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947471" y="5895979"/>
              <a:ext cx="1905098" cy="857294"/>
            </a:xfrm>
            <a:prstGeom prst="rect">
              <a:avLst/>
            </a:prstGeom>
          </p:spPr>
        </p:pic>
        <p:pic>
          <p:nvPicPr>
            <p:cNvPr id="96" name="Picture 95">
              <a:extLst>
                <a:ext uri="{FF2B5EF4-FFF2-40B4-BE49-F238E27FC236}">
                  <a16:creationId xmlns:a16="http://schemas.microsoft.com/office/drawing/2014/main" id="{2B5C8835-ECE0-C430-2CA6-00B9E7CCDD7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953821" y="6752248"/>
              <a:ext cx="1905098" cy="857294"/>
            </a:xfrm>
            <a:prstGeom prst="rect">
              <a:avLst/>
            </a:prstGeom>
          </p:spPr>
        </p:pic>
      </p:grpSp>
      <p:grpSp>
        <p:nvGrpSpPr>
          <p:cNvPr id="110" name="Group 109">
            <a:extLst>
              <a:ext uri="{FF2B5EF4-FFF2-40B4-BE49-F238E27FC236}">
                <a16:creationId xmlns:a16="http://schemas.microsoft.com/office/drawing/2014/main" id="{04C8483A-90B2-677F-81DC-F919965277CC}"/>
              </a:ext>
            </a:extLst>
          </p:cNvPr>
          <p:cNvGrpSpPr/>
          <p:nvPr/>
        </p:nvGrpSpPr>
        <p:grpSpPr>
          <a:xfrm>
            <a:off x="4695638" y="3652225"/>
            <a:ext cx="14532708" cy="7344562"/>
            <a:chOff x="2217206" y="1896725"/>
            <a:chExt cx="7266354" cy="3672281"/>
          </a:xfrm>
        </p:grpSpPr>
        <p:sp>
          <p:nvSpPr>
            <p:cNvPr id="98" name="Cylinder 97">
              <a:extLst>
                <a:ext uri="{FF2B5EF4-FFF2-40B4-BE49-F238E27FC236}">
                  <a16:creationId xmlns:a16="http://schemas.microsoft.com/office/drawing/2014/main" id="{5B79D2D0-71B6-FCCE-564C-3F79DBD782F7}"/>
                </a:ext>
              </a:extLst>
            </p:cNvPr>
            <p:cNvSpPr/>
            <p:nvPr/>
          </p:nvSpPr>
          <p:spPr>
            <a:xfrm>
              <a:off x="2224655" y="2173189"/>
              <a:ext cx="1121111" cy="1486901"/>
            </a:xfrm>
            <a:prstGeom prst="can">
              <a:avLst>
                <a:gd name="adj" fmla="val 16759"/>
              </a:avLst>
            </a:prstGeom>
            <a:solidFill>
              <a:schemeClr val="accent1">
                <a:alpha val="73000"/>
              </a:schemeClr>
            </a:solidFill>
            <a:ln>
              <a:solidFill>
                <a:schemeClr val="lt1"/>
              </a:solidFill>
            </a:ln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828800"/>
              <a:r>
                <a:rPr lang="en-US" sz="2200" b="1" dirty="0">
                  <a:solidFill>
                    <a:srgbClr val="FFFFFF"/>
                  </a:solidFill>
                  <a:latin typeface="Arial" panose="020B0604020202020204"/>
                </a:rPr>
                <a:t>SAN/NAS</a:t>
              </a:r>
            </a:p>
          </p:txBody>
        </p:sp>
        <p:sp>
          <p:nvSpPr>
            <p:cNvPr id="99" name="Cylinder 98">
              <a:extLst>
                <a:ext uri="{FF2B5EF4-FFF2-40B4-BE49-F238E27FC236}">
                  <a16:creationId xmlns:a16="http://schemas.microsoft.com/office/drawing/2014/main" id="{D21F4EDC-E328-4C58-DE42-2B66730EC53D}"/>
                </a:ext>
              </a:extLst>
            </p:cNvPr>
            <p:cNvSpPr/>
            <p:nvPr/>
          </p:nvSpPr>
          <p:spPr>
            <a:xfrm>
              <a:off x="2217206" y="3983549"/>
              <a:ext cx="1117989" cy="1481355"/>
            </a:xfrm>
            <a:prstGeom prst="can">
              <a:avLst>
                <a:gd name="adj" fmla="val 16759"/>
              </a:avLst>
            </a:prstGeom>
            <a:solidFill>
              <a:schemeClr val="accent1">
                <a:alpha val="73000"/>
              </a:schemeClr>
            </a:solidFill>
            <a:ln>
              <a:solidFill>
                <a:schemeClr val="lt1"/>
              </a:solidFill>
            </a:ln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828800"/>
              <a:r>
                <a:rPr lang="en-US" sz="2200" b="1" dirty="0">
                  <a:solidFill>
                    <a:srgbClr val="FFFFFF"/>
                  </a:solidFill>
                  <a:latin typeface="Arial" panose="020B0604020202020204"/>
                </a:rPr>
                <a:t>SAN/NAS</a:t>
              </a:r>
            </a:p>
          </p:txBody>
        </p:sp>
        <p:sp>
          <p:nvSpPr>
            <p:cNvPr id="100" name="Cylinder 99">
              <a:extLst>
                <a:ext uri="{FF2B5EF4-FFF2-40B4-BE49-F238E27FC236}">
                  <a16:creationId xmlns:a16="http://schemas.microsoft.com/office/drawing/2014/main" id="{DF15F66A-4A63-B304-9726-D575DBC49D46}"/>
                </a:ext>
              </a:extLst>
            </p:cNvPr>
            <p:cNvSpPr/>
            <p:nvPr/>
          </p:nvSpPr>
          <p:spPr>
            <a:xfrm>
              <a:off x="6306834" y="1896725"/>
              <a:ext cx="1077683" cy="3614167"/>
            </a:xfrm>
            <a:prstGeom prst="can">
              <a:avLst>
                <a:gd name="adj" fmla="val 16759"/>
              </a:avLst>
            </a:prstGeom>
            <a:solidFill>
              <a:schemeClr val="accent1">
                <a:alpha val="73000"/>
              </a:schemeClr>
            </a:solidFill>
            <a:ln>
              <a:solidFill>
                <a:schemeClr val="lt1"/>
              </a:solidFill>
            </a:ln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828800"/>
              <a:r>
                <a:rPr lang="en-US" sz="2200" b="1" dirty="0">
                  <a:solidFill>
                    <a:srgbClr val="FFFFFF"/>
                  </a:solidFill>
                  <a:latin typeface="Arial" panose="020B0604020202020204"/>
                </a:rPr>
                <a:t>S3/SAN/NAS</a:t>
              </a:r>
            </a:p>
          </p:txBody>
        </p:sp>
        <p:sp>
          <p:nvSpPr>
            <p:cNvPr id="101" name="Cylinder 100">
              <a:extLst>
                <a:ext uri="{FF2B5EF4-FFF2-40B4-BE49-F238E27FC236}">
                  <a16:creationId xmlns:a16="http://schemas.microsoft.com/office/drawing/2014/main" id="{132AA1F3-FC2D-7985-4B6B-84CC3903F9EC}"/>
                </a:ext>
              </a:extLst>
            </p:cNvPr>
            <p:cNvSpPr/>
            <p:nvPr/>
          </p:nvSpPr>
          <p:spPr>
            <a:xfrm>
              <a:off x="8330019" y="4091047"/>
              <a:ext cx="1123648" cy="1477959"/>
            </a:xfrm>
            <a:prstGeom prst="can">
              <a:avLst>
                <a:gd name="adj" fmla="val 16759"/>
              </a:avLst>
            </a:prstGeom>
            <a:solidFill>
              <a:schemeClr val="accent1">
                <a:alpha val="73000"/>
              </a:schemeClr>
            </a:solidFill>
            <a:ln>
              <a:solidFill>
                <a:schemeClr val="lt1"/>
              </a:solidFill>
            </a:ln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828800"/>
              <a:r>
                <a:rPr lang="en-US" sz="2200" b="1" dirty="0">
                  <a:solidFill>
                    <a:srgbClr val="FFFFFF"/>
                  </a:solidFill>
                  <a:latin typeface="Arial" panose="020B0604020202020204"/>
                </a:rPr>
                <a:t>SAN/NAS</a:t>
              </a:r>
            </a:p>
          </p:txBody>
        </p:sp>
        <p:sp>
          <p:nvSpPr>
            <p:cNvPr id="102" name="Cylinder 101">
              <a:extLst>
                <a:ext uri="{FF2B5EF4-FFF2-40B4-BE49-F238E27FC236}">
                  <a16:creationId xmlns:a16="http://schemas.microsoft.com/office/drawing/2014/main" id="{FB0CFC05-777C-C61F-D706-5EBBBBA475C3}"/>
                </a:ext>
              </a:extLst>
            </p:cNvPr>
            <p:cNvSpPr/>
            <p:nvPr/>
          </p:nvSpPr>
          <p:spPr>
            <a:xfrm>
              <a:off x="4322770" y="3416122"/>
              <a:ext cx="1117386" cy="408131"/>
            </a:xfrm>
            <a:prstGeom prst="can">
              <a:avLst>
                <a:gd name="adj" fmla="val 16759"/>
              </a:avLst>
            </a:prstGeom>
            <a:solidFill>
              <a:schemeClr val="accent1">
                <a:alpha val="73000"/>
              </a:schemeClr>
            </a:solidFill>
            <a:ln>
              <a:solidFill>
                <a:schemeClr val="lt1"/>
              </a:solidFill>
            </a:ln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828800"/>
              <a:r>
                <a:rPr lang="en-US" sz="2200" b="1" dirty="0">
                  <a:solidFill>
                    <a:srgbClr val="FFFFFF"/>
                  </a:solidFill>
                  <a:latin typeface="Arial" panose="020B0604020202020204"/>
                </a:rPr>
                <a:t>SAN/NAS</a:t>
              </a:r>
            </a:p>
          </p:txBody>
        </p:sp>
        <p:sp>
          <p:nvSpPr>
            <p:cNvPr id="103" name="Cylinder 102">
              <a:extLst>
                <a:ext uri="{FF2B5EF4-FFF2-40B4-BE49-F238E27FC236}">
                  <a16:creationId xmlns:a16="http://schemas.microsoft.com/office/drawing/2014/main" id="{CA8FAB78-3A77-878B-83FE-7C740182B7E5}"/>
                </a:ext>
              </a:extLst>
            </p:cNvPr>
            <p:cNvSpPr/>
            <p:nvPr/>
          </p:nvSpPr>
          <p:spPr>
            <a:xfrm>
              <a:off x="4322770" y="4702973"/>
              <a:ext cx="1121111" cy="444290"/>
            </a:xfrm>
            <a:prstGeom prst="can">
              <a:avLst>
                <a:gd name="adj" fmla="val 16759"/>
              </a:avLst>
            </a:prstGeom>
            <a:solidFill>
              <a:schemeClr val="accent1">
                <a:alpha val="73000"/>
              </a:schemeClr>
            </a:solidFill>
            <a:ln>
              <a:solidFill>
                <a:schemeClr val="lt1"/>
              </a:solidFill>
            </a:ln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828800"/>
              <a:r>
                <a:rPr lang="en-US" sz="2200" b="1" dirty="0">
                  <a:solidFill>
                    <a:srgbClr val="FFFFFF"/>
                  </a:solidFill>
                  <a:latin typeface="Arial" panose="020B0604020202020204"/>
                </a:rPr>
                <a:t>SAN/NAS</a:t>
              </a:r>
            </a:p>
          </p:txBody>
        </p:sp>
        <p:sp>
          <p:nvSpPr>
            <p:cNvPr id="104" name="Cylinder 103">
              <a:extLst>
                <a:ext uri="{FF2B5EF4-FFF2-40B4-BE49-F238E27FC236}">
                  <a16:creationId xmlns:a16="http://schemas.microsoft.com/office/drawing/2014/main" id="{EFEFD68C-0577-5FA8-0D2A-392365BD73B7}"/>
                </a:ext>
              </a:extLst>
            </p:cNvPr>
            <p:cNvSpPr/>
            <p:nvPr/>
          </p:nvSpPr>
          <p:spPr>
            <a:xfrm>
              <a:off x="8358552" y="1916356"/>
              <a:ext cx="1125008" cy="1505639"/>
            </a:xfrm>
            <a:prstGeom prst="can">
              <a:avLst>
                <a:gd name="adj" fmla="val 16759"/>
              </a:avLst>
            </a:prstGeom>
            <a:solidFill>
              <a:schemeClr val="accent1">
                <a:alpha val="73000"/>
              </a:schemeClr>
            </a:solidFill>
            <a:ln>
              <a:solidFill>
                <a:schemeClr val="lt1"/>
              </a:solidFill>
            </a:ln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828800"/>
              <a:r>
                <a:rPr lang="en-US" sz="2200" b="1" dirty="0">
                  <a:solidFill>
                    <a:srgbClr val="FFFFFF"/>
                  </a:solidFill>
                  <a:latin typeface="Arial" panose="020B0604020202020204"/>
                </a:rPr>
                <a:t>S3/SAN/NAS</a:t>
              </a:r>
            </a:p>
          </p:txBody>
        </p:sp>
      </p:grp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160E9238-83E3-4483-9F74-3B1F53CBD9EC}"/>
              </a:ext>
            </a:extLst>
          </p:cNvPr>
          <p:cNvGrpSpPr/>
          <p:nvPr/>
        </p:nvGrpSpPr>
        <p:grpSpPr>
          <a:xfrm>
            <a:off x="364129" y="3256999"/>
            <a:ext cx="23712138" cy="4334822"/>
            <a:chOff x="51451" y="1699112"/>
            <a:chExt cx="11856069" cy="2167411"/>
          </a:xfrm>
        </p:grpSpPr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E36E9AC7-8517-7EB6-F098-B2D3820C9A57}"/>
                </a:ext>
              </a:extLst>
            </p:cNvPr>
            <p:cNvCxnSpPr>
              <a:cxnSpLocks/>
            </p:cNvCxnSpPr>
            <p:nvPr/>
          </p:nvCxnSpPr>
          <p:spPr>
            <a:xfrm>
              <a:off x="1205794" y="2647341"/>
              <a:ext cx="980492" cy="1219182"/>
            </a:xfrm>
            <a:prstGeom prst="line">
              <a:avLst/>
            </a:prstGeom>
            <a:ln w="38100" cap="rnd">
              <a:solidFill>
                <a:srgbClr val="93BF2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4965DB31-441A-EE38-3C6C-8B71DA72B5D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447401" y="2770033"/>
              <a:ext cx="515315" cy="294832"/>
            </a:xfrm>
            <a:prstGeom prst="line">
              <a:avLst/>
            </a:prstGeom>
            <a:ln w="38100" cap="rnd">
              <a:solidFill>
                <a:srgbClr val="93BF2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05" name="Picture 104">
              <a:extLst>
                <a:ext uri="{FF2B5EF4-FFF2-40B4-BE49-F238E27FC236}">
                  <a16:creationId xmlns:a16="http://schemas.microsoft.com/office/drawing/2014/main" id="{2B85EDE2-2A84-A247-A9FF-E58E0C3DA76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1451" y="1699112"/>
              <a:ext cx="1839656" cy="960363"/>
            </a:xfrm>
            <a:prstGeom prst="rect">
              <a:avLst/>
            </a:prstGeom>
          </p:spPr>
        </p:pic>
        <p:pic>
          <p:nvPicPr>
            <p:cNvPr id="106" name="Picture 105">
              <a:extLst>
                <a:ext uri="{FF2B5EF4-FFF2-40B4-BE49-F238E27FC236}">
                  <a16:creationId xmlns:a16="http://schemas.microsoft.com/office/drawing/2014/main" id="{A6618FC4-D29F-3536-BDE0-A2E6A86B3BC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9849621" y="2210478"/>
              <a:ext cx="2057899" cy="1074293"/>
            </a:xfrm>
            <a:prstGeom prst="rect">
              <a:avLst/>
            </a:prstGeom>
          </p:spPr>
        </p:pic>
      </p:grpSp>
      <p:sp>
        <p:nvSpPr>
          <p:cNvPr id="118" name="TextBox 117">
            <a:extLst>
              <a:ext uri="{FF2B5EF4-FFF2-40B4-BE49-F238E27FC236}">
                <a16:creationId xmlns:a16="http://schemas.microsoft.com/office/drawing/2014/main" id="{C77C2A35-9D8D-66A2-179A-20CCED7FACD7}"/>
              </a:ext>
            </a:extLst>
          </p:cNvPr>
          <p:cNvSpPr txBox="1"/>
          <p:nvPr/>
        </p:nvSpPr>
        <p:spPr>
          <a:xfrm>
            <a:off x="10174553" y="11538575"/>
            <a:ext cx="4412310" cy="461665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 defTabSz="1828800"/>
            <a:r>
              <a:rPr lang="en-US" sz="2400" dirty="0">
                <a:solidFill>
                  <a:srgbClr val="FFFFFF"/>
                </a:solidFill>
                <a:latin typeface="Arial" panose="020B0604020202020204"/>
              </a:rPr>
              <a:t>QuantaStor Storage Grid</a:t>
            </a: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A847CA8D-C62A-71B7-E5CC-8D46FFA68483}"/>
              </a:ext>
            </a:extLst>
          </p:cNvPr>
          <p:cNvSpPr/>
          <p:nvPr/>
        </p:nvSpPr>
        <p:spPr>
          <a:xfrm>
            <a:off x="4359828" y="2167006"/>
            <a:ext cx="15307324" cy="10023896"/>
          </a:xfrm>
          <a:prstGeom prst="rect">
            <a:avLst/>
          </a:prstGeom>
          <a:noFill/>
          <a:ln w="57150">
            <a:solidFill>
              <a:schemeClr val="bg2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800"/>
            <a:endParaRPr lang="en-US" dirty="0">
              <a:solidFill>
                <a:srgbClr val="FFFFFF"/>
              </a:solidFill>
              <a:latin typeface="Open Sans Light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18C69E93-12DA-0CB0-850B-C4D95F135EA4}"/>
              </a:ext>
            </a:extLst>
          </p:cNvPr>
          <p:cNvGrpSpPr/>
          <p:nvPr/>
        </p:nvGrpSpPr>
        <p:grpSpPr>
          <a:xfrm>
            <a:off x="16702923" y="12493172"/>
            <a:ext cx="6625077" cy="1069910"/>
            <a:chOff x="16702923" y="12493172"/>
            <a:chExt cx="6625077" cy="1069910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4A7F23A0-9972-43DE-F414-872DBE788A1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6702923" y="12493172"/>
              <a:ext cx="3864456" cy="1069910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D88191B4-A808-9592-9BA4-AA69531452C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1104152" y="12826874"/>
              <a:ext cx="2223848" cy="39283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44961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8" grpId="0"/>
      <p:bldP spid="119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8" name="Left Brace 237">
            <a:extLst>
              <a:ext uri="{FF2B5EF4-FFF2-40B4-BE49-F238E27FC236}">
                <a16:creationId xmlns:a16="http://schemas.microsoft.com/office/drawing/2014/main" id="{1CBC6E1E-827C-C7CE-C57A-5E777EE50849}"/>
              </a:ext>
            </a:extLst>
          </p:cNvPr>
          <p:cNvSpPr/>
          <p:nvPr/>
        </p:nvSpPr>
        <p:spPr>
          <a:xfrm>
            <a:off x="4731488" y="2615609"/>
            <a:ext cx="2000914" cy="10532612"/>
          </a:xfrm>
          <a:prstGeom prst="leftBrace">
            <a:avLst>
              <a:gd name="adj1" fmla="val 8333"/>
              <a:gd name="adj2" fmla="val 48991"/>
            </a:avLst>
          </a:prstGeom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0" name="Rectangle 199">
            <a:extLst>
              <a:ext uri="{FF2B5EF4-FFF2-40B4-BE49-F238E27FC236}">
                <a16:creationId xmlns:a16="http://schemas.microsoft.com/office/drawing/2014/main" id="{B5713A39-8592-DEC1-086B-093E24EEC4B3}"/>
              </a:ext>
            </a:extLst>
          </p:cNvPr>
          <p:cNvSpPr/>
          <p:nvPr/>
        </p:nvSpPr>
        <p:spPr>
          <a:xfrm>
            <a:off x="10249335" y="2256283"/>
            <a:ext cx="4412343" cy="856343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Open Sans Light"/>
            </a:endParaRPr>
          </a:p>
        </p:txBody>
      </p:sp>
      <p:pic>
        <p:nvPicPr>
          <p:cNvPr id="148" name="Picture 147">
            <a:extLst>
              <a:ext uri="{FF2B5EF4-FFF2-40B4-BE49-F238E27FC236}">
                <a16:creationId xmlns:a16="http://schemas.microsoft.com/office/drawing/2014/main" id="{624B06B4-9915-A62D-6F27-03FCDFFA066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1018" y="5386898"/>
            <a:ext cx="4846531" cy="4846531"/>
          </a:xfrm>
          <a:prstGeom prst="rect">
            <a:avLst/>
          </a:prstGeom>
        </p:spPr>
      </p:pic>
      <p:sp>
        <p:nvSpPr>
          <p:cNvPr id="147" name="Rectangle 146">
            <a:extLst>
              <a:ext uri="{FF2B5EF4-FFF2-40B4-BE49-F238E27FC236}">
                <a16:creationId xmlns:a16="http://schemas.microsoft.com/office/drawing/2014/main" id="{D56F8022-8C5F-65C5-558D-04A3D84465D9}"/>
              </a:ext>
            </a:extLst>
          </p:cNvPr>
          <p:cNvSpPr/>
          <p:nvPr/>
        </p:nvSpPr>
        <p:spPr>
          <a:xfrm>
            <a:off x="19028234" y="12685486"/>
            <a:ext cx="4412343" cy="856343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Open Sans Light"/>
            </a:endParaRPr>
          </a:p>
        </p:txBody>
      </p:sp>
      <p:grpSp>
        <p:nvGrpSpPr>
          <p:cNvPr id="156" name="Group 155">
            <a:extLst>
              <a:ext uri="{FF2B5EF4-FFF2-40B4-BE49-F238E27FC236}">
                <a16:creationId xmlns:a16="http://schemas.microsoft.com/office/drawing/2014/main" id="{49D4C918-FDC4-DACC-74AE-DE276FA5F961}"/>
              </a:ext>
            </a:extLst>
          </p:cNvPr>
          <p:cNvGrpSpPr/>
          <p:nvPr/>
        </p:nvGrpSpPr>
        <p:grpSpPr>
          <a:xfrm>
            <a:off x="6935975" y="2470440"/>
            <a:ext cx="4358741" cy="5276295"/>
            <a:chOff x="9573155" y="3402130"/>
            <a:chExt cx="4358741" cy="5276295"/>
          </a:xfrm>
        </p:grpSpPr>
        <p:pic>
          <p:nvPicPr>
            <p:cNvPr id="109" name="Picture 108">
              <a:extLst>
                <a:ext uri="{FF2B5EF4-FFF2-40B4-BE49-F238E27FC236}">
                  <a16:creationId xmlns:a16="http://schemas.microsoft.com/office/drawing/2014/main" id="{7F95B7E7-8409-99CE-4D4B-5FC45DE7632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81745" y="4292815"/>
              <a:ext cx="743388" cy="822870"/>
            </a:xfrm>
            <a:prstGeom prst="rect">
              <a:avLst/>
            </a:prstGeom>
          </p:spPr>
        </p:pic>
        <p:pic>
          <p:nvPicPr>
            <p:cNvPr id="110" name="Picture 109">
              <a:extLst>
                <a:ext uri="{FF2B5EF4-FFF2-40B4-BE49-F238E27FC236}">
                  <a16:creationId xmlns:a16="http://schemas.microsoft.com/office/drawing/2014/main" id="{C82DA6A3-8825-686F-CA96-D36D9C6EB58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182872" y="4292815"/>
              <a:ext cx="743388" cy="822870"/>
            </a:xfrm>
            <a:prstGeom prst="rect">
              <a:avLst/>
            </a:prstGeom>
          </p:spPr>
        </p:pic>
        <p:pic>
          <p:nvPicPr>
            <p:cNvPr id="111" name="Picture 110">
              <a:extLst>
                <a:ext uri="{FF2B5EF4-FFF2-40B4-BE49-F238E27FC236}">
                  <a16:creationId xmlns:a16="http://schemas.microsoft.com/office/drawing/2014/main" id="{5DA3159A-03A0-F96B-80CE-6F090A258F1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783999" y="4292815"/>
              <a:ext cx="743388" cy="822870"/>
            </a:xfrm>
            <a:prstGeom prst="rect">
              <a:avLst/>
            </a:prstGeom>
          </p:spPr>
        </p:pic>
        <p:pic>
          <p:nvPicPr>
            <p:cNvPr id="112" name="Picture 111">
              <a:extLst>
                <a:ext uri="{FF2B5EF4-FFF2-40B4-BE49-F238E27FC236}">
                  <a16:creationId xmlns:a16="http://schemas.microsoft.com/office/drawing/2014/main" id="{F48DF829-9C0E-41E9-E5CD-D276851B58B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385126" y="4292815"/>
              <a:ext cx="743388" cy="822870"/>
            </a:xfrm>
            <a:prstGeom prst="rect">
              <a:avLst/>
            </a:prstGeom>
          </p:spPr>
        </p:pic>
        <p:pic>
          <p:nvPicPr>
            <p:cNvPr id="113" name="Picture 112">
              <a:extLst>
                <a:ext uri="{FF2B5EF4-FFF2-40B4-BE49-F238E27FC236}">
                  <a16:creationId xmlns:a16="http://schemas.microsoft.com/office/drawing/2014/main" id="{F731BBCD-55A6-26E7-3B33-E7D8ED3A6E9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86253" y="4292815"/>
              <a:ext cx="743388" cy="822870"/>
            </a:xfrm>
            <a:prstGeom prst="rect">
              <a:avLst/>
            </a:prstGeom>
          </p:spPr>
        </p:pic>
        <p:pic>
          <p:nvPicPr>
            <p:cNvPr id="114" name="Picture 113">
              <a:extLst>
                <a:ext uri="{FF2B5EF4-FFF2-40B4-BE49-F238E27FC236}">
                  <a16:creationId xmlns:a16="http://schemas.microsoft.com/office/drawing/2014/main" id="{32EFD63E-B675-5899-6AE8-999C32C86EE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587381" y="4292815"/>
              <a:ext cx="743388" cy="822870"/>
            </a:xfrm>
            <a:prstGeom prst="rect">
              <a:avLst/>
            </a:prstGeom>
          </p:spPr>
        </p:pic>
        <p:pic>
          <p:nvPicPr>
            <p:cNvPr id="115" name="Picture 114">
              <a:extLst>
                <a:ext uri="{FF2B5EF4-FFF2-40B4-BE49-F238E27FC236}">
                  <a16:creationId xmlns:a16="http://schemas.microsoft.com/office/drawing/2014/main" id="{8AEF8997-EBBC-FA53-9A59-9E9EA51CD91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188508" y="4292815"/>
              <a:ext cx="743388" cy="822870"/>
            </a:xfrm>
            <a:prstGeom prst="rect">
              <a:avLst/>
            </a:prstGeom>
          </p:spPr>
        </p:pic>
        <p:pic>
          <p:nvPicPr>
            <p:cNvPr id="101" name="Picture 100">
              <a:extLst>
                <a:ext uri="{FF2B5EF4-FFF2-40B4-BE49-F238E27FC236}">
                  <a16:creationId xmlns:a16="http://schemas.microsoft.com/office/drawing/2014/main" id="{4992A52D-3617-F5EF-6C73-4AED52B813E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81745" y="5183499"/>
              <a:ext cx="743388" cy="822870"/>
            </a:xfrm>
            <a:prstGeom prst="rect">
              <a:avLst/>
            </a:prstGeom>
          </p:spPr>
        </p:pic>
        <p:pic>
          <p:nvPicPr>
            <p:cNvPr id="102" name="Picture 101">
              <a:extLst>
                <a:ext uri="{FF2B5EF4-FFF2-40B4-BE49-F238E27FC236}">
                  <a16:creationId xmlns:a16="http://schemas.microsoft.com/office/drawing/2014/main" id="{BABC1CD8-A33B-C028-03A4-C06FA457E16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182872" y="5183499"/>
              <a:ext cx="743388" cy="822870"/>
            </a:xfrm>
            <a:prstGeom prst="rect">
              <a:avLst/>
            </a:prstGeom>
          </p:spPr>
        </p:pic>
        <p:pic>
          <p:nvPicPr>
            <p:cNvPr id="103" name="Picture 102">
              <a:extLst>
                <a:ext uri="{FF2B5EF4-FFF2-40B4-BE49-F238E27FC236}">
                  <a16:creationId xmlns:a16="http://schemas.microsoft.com/office/drawing/2014/main" id="{D235E096-4EE7-A23C-F39B-765E2FD44F9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783999" y="5183499"/>
              <a:ext cx="743388" cy="822870"/>
            </a:xfrm>
            <a:prstGeom prst="rect">
              <a:avLst/>
            </a:prstGeom>
          </p:spPr>
        </p:pic>
        <p:pic>
          <p:nvPicPr>
            <p:cNvPr id="104" name="Picture 103">
              <a:extLst>
                <a:ext uri="{FF2B5EF4-FFF2-40B4-BE49-F238E27FC236}">
                  <a16:creationId xmlns:a16="http://schemas.microsoft.com/office/drawing/2014/main" id="{143B2F77-3301-27BF-C366-2FAD34E2F24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385126" y="5183499"/>
              <a:ext cx="743388" cy="822870"/>
            </a:xfrm>
            <a:prstGeom prst="rect">
              <a:avLst/>
            </a:prstGeom>
          </p:spPr>
        </p:pic>
        <p:pic>
          <p:nvPicPr>
            <p:cNvPr id="105" name="Picture 104">
              <a:extLst>
                <a:ext uri="{FF2B5EF4-FFF2-40B4-BE49-F238E27FC236}">
                  <a16:creationId xmlns:a16="http://schemas.microsoft.com/office/drawing/2014/main" id="{3DB68ABA-733B-4F74-7E34-A14E45BA763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86253" y="5183499"/>
              <a:ext cx="743388" cy="822870"/>
            </a:xfrm>
            <a:prstGeom prst="rect">
              <a:avLst/>
            </a:prstGeom>
          </p:spPr>
        </p:pic>
        <p:pic>
          <p:nvPicPr>
            <p:cNvPr id="106" name="Picture 105">
              <a:extLst>
                <a:ext uri="{FF2B5EF4-FFF2-40B4-BE49-F238E27FC236}">
                  <a16:creationId xmlns:a16="http://schemas.microsoft.com/office/drawing/2014/main" id="{84D588D9-1C48-13D4-1C7C-94EB663664D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587381" y="5183499"/>
              <a:ext cx="743388" cy="822870"/>
            </a:xfrm>
            <a:prstGeom prst="rect">
              <a:avLst/>
            </a:prstGeom>
          </p:spPr>
        </p:pic>
        <p:pic>
          <p:nvPicPr>
            <p:cNvPr id="107" name="Picture 106">
              <a:extLst>
                <a:ext uri="{FF2B5EF4-FFF2-40B4-BE49-F238E27FC236}">
                  <a16:creationId xmlns:a16="http://schemas.microsoft.com/office/drawing/2014/main" id="{0D8B5429-9170-84B3-BF03-6F23D8F69BC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188508" y="5183499"/>
              <a:ext cx="743388" cy="822870"/>
            </a:xfrm>
            <a:prstGeom prst="rect">
              <a:avLst/>
            </a:prstGeom>
          </p:spPr>
        </p:pic>
        <p:pic>
          <p:nvPicPr>
            <p:cNvPr id="93" name="Picture 92">
              <a:extLst>
                <a:ext uri="{FF2B5EF4-FFF2-40B4-BE49-F238E27FC236}">
                  <a16:creationId xmlns:a16="http://schemas.microsoft.com/office/drawing/2014/main" id="{4DB6D3EA-B027-FF6D-3CB3-F8AAD6FB439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73155" y="6074184"/>
              <a:ext cx="743388" cy="822870"/>
            </a:xfrm>
            <a:prstGeom prst="rect">
              <a:avLst/>
            </a:prstGeom>
          </p:spPr>
        </p:pic>
        <p:pic>
          <p:nvPicPr>
            <p:cNvPr id="94" name="Picture 93">
              <a:extLst>
                <a:ext uri="{FF2B5EF4-FFF2-40B4-BE49-F238E27FC236}">
                  <a16:creationId xmlns:a16="http://schemas.microsoft.com/office/drawing/2014/main" id="{C9C5F5B8-6144-2AC9-13EC-2797DB5DBEE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174282" y="6074184"/>
              <a:ext cx="743388" cy="822870"/>
            </a:xfrm>
            <a:prstGeom prst="rect">
              <a:avLst/>
            </a:prstGeom>
          </p:spPr>
        </p:pic>
        <p:pic>
          <p:nvPicPr>
            <p:cNvPr id="95" name="Picture 94">
              <a:extLst>
                <a:ext uri="{FF2B5EF4-FFF2-40B4-BE49-F238E27FC236}">
                  <a16:creationId xmlns:a16="http://schemas.microsoft.com/office/drawing/2014/main" id="{027CCED3-82E8-66BF-16CA-ADBB103977F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775409" y="6074184"/>
              <a:ext cx="743388" cy="822870"/>
            </a:xfrm>
            <a:prstGeom prst="rect">
              <a:avLst/>
            </a:prstGeom>
          </p:spPr>
        </p:pic>
        <p:pic>
          <p:nvPicPr>
            <p:cNvPr id="96" name="Picture 95">
              <a:extLst>
                <a:ext uri="{FF2B5EF4-FFF2-40B4-BE49-F238E27FC236}">
                  <a16:creationId xmlns:a16="http://schemas.microsoft.com/office/drawing/2014/main" id="{DD093CEB-BF44-1DF3-9041-0C408B7BA7E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376536" y="6074184"/>
              <a:ext cx="743388" cy="822870"/>
            </a:xfrm>
            <a:prstGeom prst="rect">
              <a:avLst/>
            </a:prstGeom>
          </p:spPr>
        </p:pic>
        <p:pic>
          <p:nvPicPr>
            <p:cNvPr id="97" name="Picture 96">
              <a:extLst>
                <a:ext uri="{FF2B5EF4-FFF2-40B4-BE49-F238E27FC236}">
                  <a16:creationId xmlns:a16="http://schemas.microsoft.com/office/drawing/2014/main" id="{68CE66B0-4E8E-4A02-0512-55715B0049A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77663" y="6074184"/>
              <a:ext cx="743388" cy="822870"/>
            </a:xfrm>
            <a:prstGeom prst="rect">
              <a:avLst/>
            </a:prstGeom>
          </p:spPr>
        </p:pic>
        <p:pic>
          <p:nvPicPr>
            <p:cNvPr id="98" name="Picture 97">
              <a:extLst>
                <a:ext uri="{FF2B5EF4-FFF2-40B4-BE49-F238E27FC236}">
                  <a16:creationId xmlns:a16="http://schemas.microsoft.com/office/drawing/2014/main" id="{7D1418B1-DC9C-E448-4C7C-280FA38B45A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578791" y="6074184"/>
              <a:ext cx="743388" cy="822870"/>
            </a:xfrm>
            <a:prstGeom prst="rect">
              <a:avLst/>
            </a:prstGeom>
          </p:spPr>
        </p:pic>
        <p:pic>
          <p:nvPicPr>
            <p:cNvPr id="99" name="Picture 98">
              <a:extLst>
                <a:ext uri="{FF2B5EF4-FFF2-40B4-BE49-F238E27FC236}">
                  <a16:creationId xmlns:a16="http://schemas.microsoft.com/office/drawing/2014/main" id="{C5CCE68F-D259-936D-D108-3261E9D81FD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179918" y="6074184"/>
              <a:ext cx="743388" cy="822870"/>
            </a:xfrm>
            <a:prstGeom prst="rect">
              <a:avLst/>
            </a:prstGeom>
          </p:spPr>
        </p:pic>
        <p:pic>
          <p:nvPicPr>
            <p:cNvPr id="85" name="Picture 84">
              <a:extLst>
                <a:ext uri="{FF2B5EF4-FFF2-40B4-BE49-F238E27FC236}">
                  <a16:creationId xmlns:a16="http://schemas.microsoft.com/office/drawing/2014/main" id="{2EEAB96E-8B60-B391-7C79-B81C9E0BE56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73155" y="6964868"/>
              <a:ext cx="743388" cy="822870"/>
            </a:xfrm>
            <a:prstGeom prst="rect">
              <a:avLst/>
            </a:prstGeom>
          </p:spPr>
        </p:pic>
        <p:pic>
          <p:nvPicPr>
            <p:cNvPr id="86" name="Picture 85">
              <a:extLst>
                <a:ext uri="{FF2B5EF4-FFF2-40B4-BE49-F238E27FC236}">
                  <a16:creationId xmlns:a16="http://schemas.microsoft.com/office/drawing/2014/main" id="{64150F43-78E3-CDA3-1C44-EC27917E77A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174282" y="6964868"/>
              <a:ext cx="743388" cy="822870"/>
            </a:xfrm>
            <a:prstGeom prst="rect">
              <a:avLst/>
            </a:prstGeom>
          </p:spPr>
        </p:pic>
        <p:pic>
          <p:nvPicPr>
            <p:cNvPr id="87" name="Picture 86">
              <a:extLst>
                <a:ext uri="{FF2B5EF4-FFF2-40B4-BE49-F238E27FC236}">
                  <a16:creationId xmlns:a16="http://schemas.microsoft.com/office/drawing/2014/main" id="{87C45869-6ED9-8756-84DB-160B603E73B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775409" y="6964868"/>
              <a:ext cx="743388" cy="822870"/>
            </a:xfrm>
            <a:prstGeom prst="rect">
              <a:avLst/>
            </a:prstGeom>
          </p:spPr>
        </p:pic>
        <p:pic>
          <p:nvPicPr>
            <p:cNvPr id="88" name="Picture 87">
              <a:extLst>
                <a:ext uri="{FF2B5EF4-FFF2-40B4-BE49-F238E27FC236}">
                  <a16:creationId xmlns:a16="http://schemas.microsoft.com/office/drawing/2014/main" id="{CDE7D5EE-C4FF-9B3F-58C7-99FF91E55AA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376536" y="6964868"/>
              <a:ext cx="743388" cy="822870"/>
            </a:xfrm>
            <a:prstGeom prst="rect">
              <a:avLst/>
            </a:prstGeom>
          </p:spPr>
        </p:pic>
        <p:pic>
          <p:nvPicPr>
            <p:cNvPr id="89" name="Picture 88">
              <a:extLst>
                <a:ext uri="{FF2B5EF4-FFF2-40B4-BE49-F238E27FC236}">
                  <a16:creationId xmlns:a16="http://schemas.microsoft.com/office/drawing/2014/main" id="{6007519C-C308-551F-A48E-87464D93399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77663" y="6964868"/>
              <a:ext cx="743388" cy="822870"/>
            </a:xfrm>
            <a:prstGeom prst="rect">
              <a:avLst/>
            </a:prstGeom>
          </p:spPr>
        </p:pic>
        <p:pic>
          <p:nvPicPr>
            <p:cNvPr id="90" name="Picture 89">
              <a:extLst>
                <a:ext uri="{FF2B5EF4-FFF2-40B4-BE49-F238E27FC236}">
                  <a16:creationId xmlns:a16="http://schemas.microsoft.com/office/drawing/2014/main" id="{513681AB-D93F-7CB1-2AAC-3D096791EEF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578791" y="6964868"/>
              <a:ext cx="743388" cy="822870"/>
            </a:xfrm>
            <a:prstGeom prst="rect">
              <a:avLst/>
            </a:prstGeom>
          </p:spPr>
        </p:pic>
        <p:pic>
          <p:nvPicPr>
            <p:cNvPr id="91" name="Picture 90">
              <a:extLst>
                <a:ext uri="{FF2B5EF4-FFF2-40B4-BE49-F238E27FC236}">
                  <a16:creationId xmlns:a16="http://schemas.microsoft.com/office/drawing/2014/main" id="{81E84BFD-8FD4-BD17-3666-F530F6C6AAD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179918" y="6964868"/>
              <a:ext cx="743388" cy="822870"/>
            </a:xfrm>
            <a:prstGeom prst="rect">
              <a:avLst/>
            </a:prstGeom>
          </p:spPr>
        </p:pic>
        <p:pic>
          <p:nvPicPr>
            <p:cNvPr id="77" name="Picture 76">
              <a:extLst>
                <a:ext uri="{FF2B5EF4-FFF2-40B4-BE49-F238E27FC236}">
                  <a16:creationId xmlns:a16="http://schemas.microsoft.com/office/drawing/2014/main" id="{AB09D871-AD4A-4122-E2C8-90F14C026A5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81745" y="7855555"/>
              <a:ext cx="743388" cy="822870"/>
            </a:xfrm>
            <a:prstGeom prst="rect">
              <a:avLst/>
            </a:prstGeom>
          </p:spPr>
        </p:pic>
        <p:pic>
          <p:nvPicPr>
            <p:cNvPr id="78" name="Picture 77">
              <a:extLst>
                <a:ext uri="{FF2B5EF4-FFF2-40B4-BE49-F238E27FC236}">
                  <a16:creationId xmlns:a16="http://schemas.microsoft.com/office/drawing/2014/main" id="{B664D3DC-FA19-68DD-7A61-7C209874E06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182872" y="7855555"/>
              <a:ext cx="743388" cy="822870"/>
            </a:xfrm>
            <a:prstGeom prst="rect">
              <a:avLst/>
            </a:prstGeom>
          </p:spPr>
        </p:pic>
        <p:pic>
          <p:nvPicPr>
            <p:cNvPr id="79" name="Picture 78">
              <a:extLst>
                <a:ext uri="{FF2B5EF4-FFF2-40B4-BE49-F238E27FC236}">
                  <a16:creationId xmlns:a16="http://schemas.microsoft.com/office/drawing/2014/main" id="{05DE140D-C264-E6B0-0CBD-E39879AC1D6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783999" y="7855555"/>
              <a:ext cx="743388" cy="822870"/>
            </a:xfrm>
            <a:prstGeom prst="rect">
              <a:avLst/>
            </a:prstGeom>
          </p:spPr>
        </p:pic>
        <p:pic>
          <p:nvPicPr>
            <p:cNvPr id="80" name="Picture 79">
              <a:extLst>
                <a:ext uri="{FF2B5EF4-FFF2-40B4-BE49-F238E27FC236}">
                  <a16:creationId xmlns:a16="http://schemas.microsoft.com/office/drawing/2014/main" id="{DCCFF7DB-7149-DD33-C0E7-A4155C845DF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385126" y="7855555"/>
              <a:ext cx="743388" cy="822870"/>
            </a:xfrm>
            <a:prstGeom prst="rect">
              <a:avLst/>
            </a:prstGeom>
          </p:spPr>
        </p:pic>
        <p:pic>
          <p:nvPicPr>
            <p:cNvPr id="81" name="Picture 80">
              <a:extLst>
                <a:ext uri="{FF2B5EF4-FFF2-40B4-BE49-F238E27FC236}">
                  <a16:creationId xmlns:a16="http://schemas.microsoft.com/office/drawing/2014/main" id="{48D0B9B1-F4A9-E9B5-32F1-5A7F9E43F53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86253" y="7855555"/>
              <a:ext cx="743388" cy="822870"/>
            </a:xfrm>
            <a:prstGeom prst="rect">
              <a:avLst/>
            </a:prstGeom>
          </p:spPr>
        </p:pic>
        <p:pic>
          <p:nvPicPr>
            <p:cNvPr id="82" name="Picture 81">
              <a:extLst>
                <a:ext uri="{FF2B5EF4-FFF2-40B4-BE49-F238E27FC236}">
                  <a16:creationId xmlns:a16="http://schemas.microsoft.com/office/drawing/2014/main" id="{108FDACE-5A9D-1CE1-EF66-105C5A0A512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587381" y="7855555"/>
              <a:ext cx="743388" cy="822870"/>
            </a:xfrm>
            <a:prstGeom prst="rect">
              <a:avLst/>
            </a:prstGeom>
          </p:spPr>
        </p:pic>
        <p:pic>
          <p:nvPicPr>
            <p:cNvPr id="83" name="Picture 82">
              <a:extLst>
                <a:ext uri="{FF2B5EF4-FFF2-40B4-BE49-F238E27FC236}">
                  <a16:creationId xmlns:a16="http://schemas.microsoft.com/office/drawing/2014/main" id="{75C4B000-5C11-4F0F-3208-5469E45B04F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188508" y="7855555"/>
              <a:ext cx="743388" cy="822870"/>
            </a:xfrm>
            <a:prstGeom prst="rect">
              <a:avLst/>
            </a:prstGeom>
          </p:spPr>
        </p:pic>
        <p:pic>
          <p:nvPicPr>
            <p:cNvPr id="69" name="Picture 68">
              <a:extLst>
                <a:ext uri="{FF2B5EF4-FFF2-40B4-BE49-F238E27FC236}">
                  <a16:creationId xmlns:a16="http://schemas.microsoft.com/office/drawing/2014/main" id="{CFD5F315-C91C-6E04-427A-44F8B562C50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73155" y="3402130"/>
              <a:ext cx="743388" cy="822870"/>
            </a:xfrm>
            <a:prstGeom prst="rect">
              <a:avLst/>
            </a:prstGeom>
          </p:spPr>
        </p:pic>
        <p:pic>
          <p:nvPicPr>
            <p:cNvPr id="70" name="Picture 69">
              <a:extLst>
                <a:ext uri="{FF2B5EF4-FFF2-40B4-BE49-F238E27FC236}">
                  <a16:creationId xmlns:a16="http://schemas.microsoft.com/office/drawing/2014/main" id="{40DE1D55-A4CD-0C1D-C005-9EEE9AA526E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174282" y="3402130"/>
              <a:ext cx="743388" cy="822870"/>
            </a:xfrm>
            <a:prstGeom prst="rect">
              <a:avLst/>
            </a:prstGeom>
          </p:spPr>
        </p:pic>
        <p:pic>
          <p:nvPicPr>
            <p:cNvPr id="71" name="Picture 70">
              <a:extLst>
                <a:ext uri="{FF2B5EF4-FFF2-40B4-BE49-F238E27FC236}">
                  <a16:creationId xmlns:a16="http://schemas.microsoft.com/office/drawing/2014/main" id="{D6B08C30-EAAF-0C95-34E8-EE940D22447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775409" y="3402130"/>
              <a:ext cx="743388" cy="822870"/>
            </a:xfrm>
            <a:prstGeom prst="rect">
              <a:avLst/>
            </a:prstGeom>
          </p:spPr>
        </p:pic>
        <p:pic>
          <p:nvPicPr>
            <p:cNvPr id="72" name="Picture 71">
              <a:extLst>
                <a:ext uri="{FF2B5EF4-FFF2-40B4-BE49-F238E27FC236}">
                  <a16:creationId xmlns:a16="http://schemas.microsoft.com/office/drawing/2014/main" id="{1629E01B-5884-267F-117E-BEA333BD6C0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376536" y="3402130"/>
              <a:ext cx="743388" cy="822870"/>
            </a:xfrm>
            <a:prstGeom prst="rect">
              <a:avLst/>
            </a:prstGeom>
          </p:spPr>
        </p:pic>
        <p:pic>
          <p:nvPicPr>
            <p:cNvPr id="73" name="Picture 72">
              <a:extLst>
                <a:ext uri="{FF2B5EF4-FFF2-40B4-BE49-F238E27FC236}">
                  <a16:creationId xmlns:a16="http://schemas.microsoft.com/office/drawing/2014/main" id="{C8381A7B-C1B2-8E8E-DBC9-95E1CA6707C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77663" y="3402130"/>
              <a:ext cx="743388" cy="822870"/>
            </a:xfrm>
            <a:prstGeom prst="rect">
              <a:avLst/>
            </a:prstGeom>
          </p:spPr>
        </p:pic>
        <p:pic>
          <p:nvPicPr>
            <p:cNvPr id="74" name="Picture 73">
              <a:extLst>
                <a:ext uri="{FF2B5EF4-FFF2-40B4-BE49-F238E27FC236}">
                  <a16:creationId xmlns:a16="http://schemas.microsoft.com/office/drawing/2014/main" id="{2F70BE07-B6F3-1896-7586-94C7468428F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578791" y="3402130"/>
              <a:ext cx="743388" cy="822870"/>
            </a:xfrm>
            <a:prstGeom prst="rect">
              <a:avLst/>
            </a:prstGeom>
          </p:spPr>
        </p:pic>
        <p:pic>
          <p:nvPicPr>
            <p:cNvPr id="75" name="Picture 74">
              <a:extLst>
                <a:ext uri="{FF2B5EF4-FFF2-40B4-BE49-F238E27FC236}">
                  <a16:creationId xmlns:a16="http://schemas.microsoft.com/office/drawing/2014/main" id="{3CC7D8BB-3CCF-2213-9E7E-89E4ABFBAD7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179918" y="3402130"/>
              <a:ext cx="743388" cy="822870"/>
            </a:xfrm>
            <a:prstGeom prst="rect">
              <a:avLst/>
            </a:prstGeom>
          </p:spPr>
        </p:pic>
      </p:grpSp>
      <p:sp>
        <p:nvSpPr>
          <p:cNvPr id="118" name="Rectangle 117">
            <a:extLst>
              <a:ext uri="{FF2B5EF4-FFF2-40B4-BE49-F238E27FC236}">
                <a16:creationId xmlns:a16="http://schemas.microsoft.com/office/drawing/2014/main" id="{69E811B2-6DAB-557B-C7B0-6BB88E97AC5C}"/>
              </a:ext>
            </a:extLst>
          </p:cNvPr>
          <p:cNvSpPr/>
          <p:nvPr/>
        </p:nvSpPr>
        <p:spPr>
          <a:xfrm>
            <a:off x="6876786" y="2485396"/>
            <a:ext cx="4375141" cy="5234956"/>
          </a:xfrm>
          <a:prstGeom prst="rect">
            <a:avLst/>
          </a:prstGeom>
          <a:solidFill>
            <a:schemeClr val="accent2">
              <a:alpha val="61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ontserrat Black" panose="00000A00000000000000" pitchFamily="2" charset="0"/>
              </a:rPr>
              <a:t>Disk Group 1</a:t>
            </a:r>
          </a:p>
          <a:p>
            <a:pPr algn="ctr"/>
            <a:r>
              <a:rPr lang="en-US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ontserrat Black" panose="00000A00000000000000" pitchFamily="2" charset="0"/>
              </a:rPr>
              <a:t>ADAPT 16+2 </a:t>
            </a:r>
          </a:p>
          <a:p>
            <a:pPr algn="ctr"/>
            <a:r>
              <a:rPr lang="en-US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ontserrat Black" panose="00000A00000000000000" pitchFamily="2" charset="0"/>
              </a:rPr>
              <a:t>Erasure Coding</a:t>
            </a:r>
          </a:p>
        </p:txBody>
      </p:sp>
      <p:sp>
        <p:nvSpPr>
          <p:cNvPr id="155" name="Title 154">
            <a:extLst>
              <a:ext uri="{FF2B5EF4-FFF2-40B4-BE49-F238E27FC236}">
                <a16:creationId xmlns:a16="http://schemas.microsoft.com/office/drawing/2014/main" id="{53A51034-7FA0-9CCA-B8BC-6CB184194DC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Seagate Corvault vs Seagate </a:t>
            </a:r>
            <a:r>
              <a:rPr lang="en-US" dirty="0" err="1"/>
              <a:t>Exos</a:t>
            </a:r>
            <a:r>
              <a:rPr lang="en-US" dirty="0"/>
              <a:t> E</a:t>
            </a:r>
          </a:p>
        </p:txBody>
      </p:sp>
      <p:grpSp>
        <p:nvGrpSpPr>
          <p:cNvPr id="157" name="Group 156">
            <a:extLst>
              <a:ext uri="{FF2B5EF4-FFF2-40B4-BE49-F238E27FC236}">
                <a16:creationId xmlns:a16="http://schemas.microsoft.com/office/drawing/2014/main" id="{723C1961-7127-2D94-20B4-B8F1C24E504B}"/>
              </a:ext>
            </a:extLst>
          </p:cNvPr>
          <p:cNvGrpSpPr/>
          <p:nvPr/>
        </p:nvGrpSpPr>
        <p:grpSpPr>
          <a:xfrm>
            <a:off x="6910325" y="8012327"/>
            <a:ext cx="4358741" cy="5276295"/>
            <a:chOff x="9573155" y="3402130"/>
            <a:chExt cx="4358741" cy="5276295"/>
          </a:xfrm>
        </p:grpSpPr>
        <p:pic>
          <p:nvPicPr>
            <p:cNvPr id="158" name="Picture 157">
              <a:extLst>
                <a:ext uri="{FF2B5EF4-FFF2-40B4-BE49-F238E27FC236}">
                  <a16:creationId xmlns:a16="http://schemas.microsoft.com/office/drawing/2014/main" id="{30FCE713-37CC-1B3A-C30C-07450D84A02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81745" y="4292815"/>
              <a:ext cx="743388" cy="822870"/>
            </a:xfrm>
            <a:prstGeom prst="rect">
              <a:avLst/>
            </a:prstGeom>
          </p:spPr>
        </p:pic>
        <p:pic>
          <p:nvPicPr>
            <p:cNvPr id="159" name="Picture 158">
              <a:extLst>
                <a:ext uri="{FF2B5EF4-FFF2-40B4-BE49-F238E27FC236}">
                  <a16:creationId xmlns:a16="http://schemas.microsoft.com/office/drawing/2014/main" id="{B078D903-4FE9-57EB-BBB4-69790E46C65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182872" y="4292815"/>
              <a:ext cx="743388" cy="822870"/>
            </a:xfrm>
            <a:prstGeom prst="rect">
              <a:avLst/>
            </a:prstGeom>
          </p:spPr>
        </p:pic>
        <p:pic>
          <p:nvPicPr>
            <p:cNvPr id="160" name="Picture 159">
              <a:extLst>
                <a:ext uri="{FF2B5EF4-FFF2-40B4-BE49-F238E27FC236}">
                  <a16:creationId xmlns:a16="http://schemas.microsoft.com/office/drawing/2014/main" id="{A092E5AD-9A4C-69E8-6865-700F0BB2A78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783999" y="4292815"/>
              <a:ext cx="743388" cy="822870"/>
            </a:xfrm>
            <a:prstGeom prst="rect">
              <a:avLst/>
            </a:prstGeom>
          </p:spPr>
        </p:pic>
        <p:pic>
          <p:nvPicPr>
            <p:cNvPr id="161" name="Picture 160">
              <a:extLst>
                <a:ext uri="{FF2B5EF4-FFF2-40B4-BE49-F238E27FC236}">
                  <a16:creationId xmlns:a16="http://schemas.microsoft.com/office/drawing/2014/main" id="{CE4BC32D-4AEE-C309-285A-8E79A0178A9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385126" y="4292815"/>
              <a:ext cx="743388" cy="822870"/>
            </a:xfrm>
            <a:prstGeom prst="rect">
              <a:avLst/>
            </a:prstGeom>
          </p:spPr>
        </p:pic>
        <p:pic>
          <p:nvPicPr>
            <p:cNvPr id="162" name="Picture 161">
              <a:extLst>
                <a:ext uri="{FF2B5EF4-FFF2-40B4-BE49-F238E27FC236}">
                  <a16:creationId xmlns:a16="http://schemas.microsoft.com/office/drawing/2014/main" id="{97712C0C-F5CB-35C5-F047-B51BDECA79F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86253" y="4292815"/>
              <a:ext cx="743388" cy="822870"/>
            </a:xfrm>
            <a:prstGeom prst="rect">
              <a:avLst/>
            </a:prstGeom>
          </p:spPr>
        </p:pic>
        <p:pic>
          <p:nvPicPr>
            <p:cNvPr id="163" name="Picture 162">
              <a:extLst>
                <a:ext uri="{FF2B5EF4-FFF2-40B4-BE49-F238E27FC236}">
                  <a16:creationId xmlns:a16="http://schemas.microsoft.com/office/drawing/2014/main" id="{CE856E0C-5EDE-5F73-B77D-56344482540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587381" y="4292815"/>
              <a:ext cx="743388" cy="822870"/>
            </a:xfrm>
            <a:prstGeom prst="rect">
              <a:avLst/>
            </a:prstGeom>
          </p:spPr>
        </p:pic>
        <p:pic>
          <p:nvPicPr>
            <p:cNvPr id="164" name="Picture 163">
              <a:extLst>
                <a:ext uri="{FF2B5EF4-FFF2-40B4-BE49-F238E27FC236}">
                  <a16:creationId xmlns:a16="http://schemas.microsoft.com/office/drawing/2014/main" id="{A7F0D453-AC03-ACE2-0358-FABC1F9A765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188508" y="4292815"/>
              <a:ext cx="743388" cy="822870"/>
            </a:xfrm>
            <a:prstGeom prst="rect">
              <a:avLst/>
            </a:prstGeom>
          </p:spPr>
        </p:pic>
        <p:pic>
          <p:nvPicPr>
            <p:cNvPr id="165" name="Picture 164">
              <a:extLst>
                <a:ext uri="{FF2B5EF4-FFF2-40B4-BE49-F238E27FC236}">
                  <a16:creationId xmlns:a16="http://schemas.microsoft.com/office/drawing/2014/main" id="{F274C01C-7805-B7F2-0EFD-BF2273D9644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81745" y="5183499"/>
              <a:ext cx="743388" cy="822870"/>
            </a:xfrm>
            <a:prstGeom prst="rect">
              <a:avLst/>
            </a:prstGeom>
          </p:spPr>
        </p:pic>
        <p:pic>
          <p:nvPicPr>
            <p:cNvPr id="166" name="Picture 165">
              <a:extLst>
                <a:ext uri="{FF2B5EF4-FFF2-40B4-BE49-F238E27FC236}">
                  <a16:creationId xmlns:a16="http://schemas.microsoft.com/office/drawing/2014/main" id="{E48942A7-51BE-D933-F9E3-C4FD2489084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182872" y="5183499"/>
              <a:ext cx="743388" cy="822870"/>
            </a:xfrm>
            <a:prstGeom prst="rect">
              <a:avLst/>
            </a:prstGeom>
          </p:spPr>
        </p:pic>
        <p:pic>
          <p:nvPicPr>
            <p:cNvPr id="167" name="Picture 166">
              <a:extLst>
                <a:ext uri="{FF2B5EF4-FFF2-40B4-BE49-F238E27FC236}">
                  <a16:creationId xmlns:a16="http://schemas.microsoft.com/office/drawing/2014/main" id="{E7E42ED0-9C33-5D3B-BB2C-7A3FB610DA1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783999" y="5183499"/>
              <a:ext cx="743388" cy="822870"/>
            </a:xfrm>
            <a:prstGeom prst="rect">
              <a:avLst/>
            </a:prstGeom>
          </p:spPr>
        </p:pic>
        <p:pic>
          <p:nvPicPr>
            <p:cNvPr id="168" name="Picture 167">
              <a:extLst>
                <a:ext uri="{FF2B5EF4-FFF2-40B4-BE49-F238E27FC236}">
                  <a16:creationId xmlns:a16="http://schemas.microsoft.com/office/drawing/2014/main" id="{19F092C8-F679-DCC1-A757-CC73377C5B1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385126" y="5183499"/>
              <a:ext cx="743388" cy="822870"/>
            </a:xfrm>
            <a:prstGeom prst="rect">
              <a:avLst/>
            </a:prstGeom>
          </p:spPr>
        </p:pic>
        <p:pic>
          <p:nvPicPr>
            <p:cNvPr id="169" name="Picture 168">
              <a:extLst>
                <a:ext uri="{FF2B5EF4-FFF2-40B4-BE49-F238E27FC236}">
                  <a16:creationId xmlns:a16="http://schemas.microsoft.com/office/drawing/2014/main" id="{E9D7B130-48D1-6DCC-F55D-20F04860858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86253" y="5183499"/>
              <a:ext cx="743388" cy="822870"/>
            </a:xfrm>
            <a:prstGeom prst="rect">
              <a:avLst/>
            </a:prstGeom>
          </p:spPr>
        </p:pic>
        <p:pic>
          <p:nvPicPr>
            <p:cNvPr id="170" name="Picture 169">
              <a:extLst>
                <a:ext uri="{FF2B5EF4-FFF2-40B4-BE49-F238E27FC236}">
                  <a16:creationId xmlns:a16="http://schemas.microsoft.com/office/drawing/2014/main" id="{0A53AFB1-ABFC-59B6-6CFE-458F8D685D3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587381" y="5183499"/>
              <a:ext cx="743388" cy="822870"/>
            </a:xfrm>
            <a:prstGeom prst="rect">
              <a:avLst/>
            </a:prstGeom>
          </p:spPr>
        </p:pic>
        <p:pic>
          <p:nvPicPr>
            <p:cNvPr id="171" name="Picture 170">
              <a:extLst>
                <a:ext uri="{FF2B5EF4-FFF2-40B4-BE49-F238E27FC236}">
                  <a16:creationId xmlns:a16="http://schemas.microsoft.com/office/drawing/2014/main" id="{70C15E08-07D8-4C4D-AA70-A16FC652F90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188508" y="5183499"/>
              <a:ext cx="743388" cy="822870"/>
            </a:xfrm>
            <a:prstGeom prst="rect">
              <a:avLst/>
            </a:prstGeom>
          </p:spPr>
        </p:pic>
        <p:pic>
          <p:nvPicPr>
            <p:cNvPr id="172" name="Picture 171">
              <a:extLst>
                <a:ext uri="{FF2B5EF4-FFF2-40B4-BE49-F238E27FC236}">
                  <a16:creationId xmlns:a16="http://schemas.microsoft.com/office/drawing/2014/main" id="{719C2ECE-C64F-A81C-E01D-26F7CBC1CEE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73155" y="6074184"/>
              <a:ext cx="743388" cy="822870"/>
            </a:xfrm>
            <a:prstGeom prst="rect">
              <a:avLst/>
            </a:prstGeom>
          </p:spPr>
        </p:pic>
        <p:pic>
          <p:nvPicPr>
            <p:cNvPr id="173" name="Picture 172">
              <a:extLst>
                <a:ext uri="{FF2B5EF4-FFF2-40B4-BE49-F238E27FC236}">
                  <a16:creationId xmlns:a16="http://schemas.microsoft.com/office/drawing/2014/main" id="{682FFF01-8C6C-92CE-F1A9-116531D06B0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174282" y="6074184"/>
              <a:ext cx="743388" cy="822870"/>
            </a:xfrm>
            <a:prstGeom prst="rect">
              <a:avLst/>
            </a:prstGeom>
          </p:spPr>
        </p:pic>
        <p:pic>
          <p:nvPicPr>
            <p:cNvPr id="174" name="Picture 173">
              <a:extLst>
                <a:ext uri="{FF2B5EF4-FFF2-40B4-BE49-F238E27FC236}">
                  <a16:creationId xmlns:a16="http://schemas.microsoft.com/office/drawing/2014/main" id="{280218B7-0520-DED4-0FF5-3DEE4B0B84E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775409" y="6074184"/>
              <a:ext cx="743388" cy="822870"/>
            </a:xfrm>
            <a:prstGeom prst="rect">
              <a:avLst/>
            </a:prstGeom>
          </p:spPr>
        </p:pic>
        <p:pic>
          <p:nvPicPr>
            <p:cNvPr id="175" name="Picture 174">
              <a:extLst>
                <a:ext uri="{FF2B5EF4-FFF2-40B4-BE49-F238E27FC236}">
                  <a16:creationId xmlns:a16="http://schemas.microsoft.com/office/drawing/2014/main" id="{90AC5F3C-1985-A815-962E-EA5974DD0A3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376536" y="6074184"/>
              <a:ext cx="743388" cy="822870"/>
            </a:xfrm>
            <a:prstGeom prst="rect">
              <a:avLst/>
            </a:prstGeom>
          </p:spPr>
        </p:pic>
        <p:pic>
          <p:nvPicPr>
            <p:cNvPr id="176" name="Picture 175">
              <a:extLst>
                <a:ext uri="{FF2B5EF4-FFF2-40B4-BE49-F238E27FC236}">
                  <a16:creationId xmlns:a16="http://schemas.microsoft.com/office/drawing/2014/main" id="{EDE65D8D-2948-405F-5F9D-6D52CC964BF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77663" y="6074184"/>
              <a:ext cx="743388" cy="822870"/>
            </a:xfrm>
            <a:prstGeom prst="rect">
              <a:avLst/>
            </a:prstGeom>
          </p:spPr>
        </p:pic>
        <p:pic>
          <p:nvPicPr>
            <p:cNvPr id="177" name="Picture 176">
              <a:extLst>
                <a:ext uri="{FF2B5EF4-FFF2-40B4-BE49-F238E27FC236}">
                  <a16:creationId xmlns:a16="http://schemas.microsoft.com/office/drawing/2014/main" id="{C7F01D04-44EE-3CEE-8494-92ACAFE2A1D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578791" y="6074184"/>
              <a:ext cx="743388" cy="822870"/>
            </a:xfrm>
            <a:prstGeom prst="rect">
              <a:avLst/>
            </a:prstGeom>
          </p:spPr>
        </p:pic>
        <p:pic>
          <p:nvPicPr>
            <p:cNvPr id="178" name="Picture 177">
              <a:extLst>
                <a:ext uri="{FF2B5EF4-FFF2-40B4-BE49-F238E27FC236}">
                  <a16:creationId xmlns:a16="http://schemas.microsoft.com/office/drawing/2014/main" id="{5ECD5768-E758-21CC-CB5A-0A6AB07FD73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179918" y="6074184"/>
              <a:ext cx="743388" cy="822870"/>
            </a:xfrm>
            <a:prstGeom prst="rect">
              <a:avLst/>
            </a:prstGeom>
          </p:spPr>
        </p:pic>
        <p:pic>
          <p:nvPicPr>
            <p:cNvPr id="179" name="Picture 178">
              <a:extLst>
                <a:ext uri="{FF2B5EF4-FFF2-40B4-BE49-F238E27FC236}">
                  <a16:creationId xmlns:a16="http://schemas.microsoft.com/office/drawing/2014/main" id="{C1469F39-CDF7-FA46-A352-E33E930F0D6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73155" y="6964868"/>
              <a:ext cx="743388" cy="822870"/>
            </a:xfrm>
            <a:prstGeom prst="rect">
              <a:avLst/>
            </a:prstGeom>
          </p:spPr>
        </p:pic>
        <p:pic>
          <p:nvPicPr>
            <p:cNvPr id="180" name="Picture 179">
              <a:extLst>
                <a:ext uri="{FF2B5EF4-FFF2-40B4-BE49-F238E27FC236}">
                  <a16:creationId xmlns:a16="http://schemas.microsoft.com/office/drawing/2014/main" id="{261234ED-A37E-C3F4-5BF1-E8D99709CD5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174282" y="6964868"/>
              <a:ext cx="743388" cy="822870"/>
            </a:xfrm>
            <a:prstGeom prst="rect">
              <a:avLst/>
            </a:prstGeom>
          </p:spPr>
        </p:pic>
        <p:pic>
          <p:nvPicPr>
            <p:cNvPr id="181" name="Picture 180">
              <a:extLst>
                <a:ext uri="{FF2B5EF4-FFF2-40B4-BE49-F238E27FC236}">
                  <a16:creationId xmlns:a16="http://schemas.microsoft.com/office/drawing/2014/main" id="{8CEAE87B-35B8-0A5A-1C1E-FDCC557053F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775409" y="6964868"/>
              <a:ext cx="743388" cy="822870"/>
            </a:xfrm>
            <a:prstGeom prst="rect">
              <a:avLst/>
            </a:prstGeom>
          </p:spPr>
        </p:pic>
        <p:pic>
          <p:nvPicPr>
            <p:cNvPr id="182" name="Picture 181">
              <a:extLst>
                <a:ext uri="{FF2B5EF4-FFF2-40B4-BE49-F238E27FC236}">
                  <a16:creationId xmlns:a16="http://schemas.microsoft.com/office/drawing/2014/main" id="{216A9ABA-5D4D-734F-7C65-8512D6CABDE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376536" y="6964868"/>
              <a:ext cx="743388" cy="822870"/>
            </a:xfrm>
            <a:prstGeom prst="rect">
              <a:avLst/>
            </a:prstGeom>
          </p:spPr>
        </p:pic>
        <p:pic>
          <p:nvPicPr>
            <p:cNvPr id="183" name="Picture 182">
              <a:extLst>
                <a:ext uri="{FF2B5EF4-FFF2-40B4-BE49-F238E27FC236}">
                  <a16:creationId xmlns:a16="http://schemas.microsoft.com/office/drawing/2014/main" id="{99E40DB2-A123-E364-7AFE-2DE15AE182A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77663" y="6964868"/>
              <a:ext cx="743388" cy="822870"/>
            </a:xfrm>
            <a:prstGeom prst="rect">
              <a:avLst/>
            </a:prstGeom>
          </p:spPr>
        </p:pic>
        <p:pic>
          <p:nvPicPr>
            <p:cNvPr id="184" name="Picture 183">
              <a:extLst>
                <a:ext uri="{FF2B5EF4-FFF2-40B4-BE49-F238E27FC236}">
                  <a16:creationId xmlns:a16="http://schemas.microsoft.com/office/drawing/2014/main" id="{4C616B48-B161-60D9-5D19-A6DD45956B5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578791" y="6964868"/>
              <a:ext cx="743388" cy="822870"/>
            </a:xfrm>
            <a:prstGeom prst="rect">
              <a:avLst/>
            </a:prstGeom>
          </p:spPr>
        </p:pic>
        <p:pic>
          <p:nvPicPr>
            <p:cNvPr id="185" name="Picture 184">
              <a:extLst>
                <a:ext uri="{FF2B5EF4-FFF2-40B4-BE49-F238E27FC236}">
                  <a16:creationId xmlns:a16="http://schemas.microsoft.com/office/drawing/2014/main" id="{AC8F70A3-34B3-B554-0DB5-D3A7EDC5E12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179918" y="6964868"/>
              <a:ext cx="743388" cy="822870"/>
            </a:xfrm>
            <a:prstGeom prst="rect">
              <a:avLst/>
            </a:prstGeom>
          </p:spPr>
        </p:pic>
        <p:pic>
          <p:nvPicPr>
            <p:cNvPr id="186" name="Picture 185">
              <a:extLst>
                <a:ext uri="{FF2B5EF4-FFF2-40B4-BE49-F238E27FC236}">
                  <a16:creationId xmlns:a16="http://schemas.microsoft.com/office/drawing/2014/main" id="{C5E7DCA6-F25C-801A-54BA-94C4FC86F4E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81745" y="7855555"/>
              <a:ext cx="743388" cy="822870"/>
            </a:xfrm>
            <a:prstGeom prst="rect">
              <a:avLst/>
            </a:prstGeom>
          </p:spPr>
        </p:pic>
        <p:pic>
          <p:nvPicPr>
            <p:cNvPr id="187" name="Picture 186">
              <a:extLst>
                <a:ext uri="{FF2B5EF4-FFF2-40B4-BE49-F238E27FC236}">
                  <a16:creationId xmlns:a16="http://schemas.microsoft.com/office/drawing/2014/main" id="{2362B183-863A-0823-934C-55ED1B56F2A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182872" y="7855555"/>
              <a:ext cx="743388" cy="822870"/>
            </a:xfrm>
            <a:prstGeom prst="rect">
              <a:avLst/>
            </a:prstGeom>
          </p:spPr>
        </p:pic>
        <p:pic>
          <p:nvPicPr>
            <p:cNvPr id="188" name="Picture 187">
              <a:extLst>
                <a:ext uri="{FF2B5EF4-FFF2-40B4-BE49-F238E27FC236}">
                  <a16:creationId xmlns:a16="http://schemas.microsoft.com/office/drawing/2014/main" id="{2B8EA9C0-896B-D59A-7DCE-545D8A88898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783999" y="7855555"/>
              <a:ext cx="743388" cy="822870"/>
            </a:xfrm>
            <a:prstGeom prst="rect">
              <a:avLst/>
            </a:prstGeom>
          </p:spPr>
        </p:pic>
        <p:pic>
          <p:nvPicPr>
            <p:cNvPr id="189" name="Picture 188">
              <a:extLst>
                <a:ext uri="{FF2B5EF4-FFF2-40B4-BE49-F238E27FC236}">
                  <a16:creationId xmlns:a16="http://schemas.microsoft.com/office/drawing/2014/main" id="{93B556BC-1409-9252-878E-A85BC1D8A2A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385126" y="7855555"/>
              <a:ext cx="743388" cy="822870"/>
            </a:xfrm>
            <a:prstGeom prst="rect">
              <a:avLst/>
            </a:prstGeom>
          </p:spPr>
        </p:pic>
        <p:pic>
          <p:nvPicPr>
            <p:cNvPr id="190" name="Picture 189">
              <a:extLst>
                <a:ext uri="{FF2B5EF4-FFF2-40B4-BE49-F238E27FC236}">
                  <a16:creationId xmlns:a16="http://schemas.microsoft.com/office/drawing/2014/main" id="{990A2A48-6D00-650A-21A8-FC215A92311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86253" y="7855555"/>
              <a:ext cx="743388" cy="822870"/>
            </a:xfrm>
            <a:prstGeom prst="rect">
              <a:avLst/>
            </a:prstGeom>
          </p:spPr>
        </p:pic>
        <p:pic>
          <p:nvPicPr>
            <p:cNvPr id="191" name="Picture 190">
              <a:extLst>
                <a:ext uri="{FF2B5EF4-FFF2-40B4-BE49-F238E27FC236}">
                  <a16:creationId xmlns:a16="http://schemas.microsoft.com/office/drawing/2014/main" id="{E5060CB1-9F12-4732-CC05-BEA36A87D7B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587381" y="7855555"/>
              <a:ext cx="743388" cy="822870"/>
            </a:xfrm>
            <a:prstGeom prst="rect">
              <a:avLst/>
            </a:prstGeom>
          </p:spPr>
        </p:pic>
        <p:pic>
          <p:nvPicPr>
            <p:cNvPr id="192" name="Picture 191">
              <a:extLst>
                <a:ext uri="{FF2B5EF4-FFF2-40B4-BE49-F238E27FC236}">
                  <a16:creationId xmlns:a16="http://schemas.microsoft.com/office/drawing/2014/main" id="{BB1FBFAF-1182-E606-0FF9-BF48D4DDA06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188508" y="7855555"/>
              <a:ext cx="743388" cy="822870"/>
            </a:xfrm>
            <a:prstGeom prst="rect">
              <a:avLst/>
            </a:prstGeom>
          </p:spPr>
        </p:pic>
        <p:pic>
          <p:nvPicPr>
            <p:cNvPr id="193" name="Picture 192">
              <a:extLst>
                <a:ext uri="{FF2B5EF4-FFF2-40B4-BE49-F238E27FC236}">
                  <a16:creationId xmlns:a16="http://schemas.microsoft.com/office/drawing/2014/main" id="{4EE057A2-EF6E-8D1C-F4FF-9DAFE922EF8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73155" y="3402130"/>
              <a:ext cx="743388" cy="822870"/>
            </a:xfrm>
            <a:prstGeom prst="rect">
              <a:avLst/>
            </a:prstGeom>
          </p:spPr>
        </p:pic>
        <p:pic>
          <p:nvPicPr>
            <p:cNvPr id="194" name="Picture 193">
              <a:extLst>
                <a:ext uri="{FF2B5EF4-FFF2-40B4-BE49-F238E27FC236}">
                  <a16:creationId xmlns:a16="http://schemas.microsoft.com/office/drawing/2014/main" id="{4FC12BDA-B3A4-BFEE-39E4-14B65CE28C9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174282" y="3402130"/>
              <a:ext cx="743388" cy="822870"/>
            </a:xfrm>
            <a:prstGeom prst="rect">
              <a:avLst/>
            </a:prstGeom>
          </p:spPr>
        </p:pic>
        <p:pic>
          <p:nvPicPr>
            <p:cNvPr id="195" name="Picture 194">
              <a:extLst>
                <a:ext uri="{FF2B5EF4-FFF2-40B4-BE49-F238E27FC236}">
                  <a16:creationId xmlns:a16="http://schemas.microsoft.com/office/drawing/2014/main" id="{00D0EF46-89D8-1687-0651-0921FADCF8C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775409" y="3402130"/>
              <a:ext cx="743388" cy="822870"/>
            </a:xfrm>
            <a:prstGeom prst="rect">
              <a:avLst/>
            </a:prstGeom>
          </p:spPr>
        </p:pic>
        <p:pic>
          <p:nvPicPr>
            <p:cNvPr id="196" name="Picture 195">
              <a:extLst>
                <a:ext uri="{FF2B5EF4-FFF2-40B4-BE49-F238E27FC236}">
                  <a16:creationId xmlns:a16="http://schemas.microsoft.com/office/drawing/2014/main" id="{1B53B7A4-81E4-ECD0-C735-3831C84407F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376536" y="3402130"/>
              <a:ext cx="743388" cy="822870"/>
            </a:xfrm>
            <a:prstGeom prst="rect">
              <a:avLst/>
            </a:prstGeom>
          </p:spPr>
        </p:pic>
        <p:pic>
          <p:nvPicPr>
            <p:cNvPr id="197" name="Picture 196">
              <a:extLst>
                <a:ext uri="{FF2B5EF4-FFF2-40B4-BE49-F238E27FC236}">
                  <a16:creationId xmlns:a16="http://schemas.microsoft.com/office/drawing/2014/main" id="{A7BCF5C6-DF98-AA97-F541-DA92F4D7E90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77663" y="3402130"/>
              <a:ext cx="743388" cy="822870"/>
            </a:xfrm>
            <a:prstGeom prst="rect">
              <a:avLst/>
            </a:prstGeom>
          </p:spPr>
        </p:pic>
        <p:pic>
          <p:nvPicPr>
            <p:cNvPr id="198" name="Picture 197">
              <a:extLst>
                <a:ext uri="{FF2B5EF4-FFF2-40B4-BE49-F238E27FC236}">
                  <a16:creationId xmlns:a16="http://schemas.microsoft.com/office/drawing/2014/main" id="{CA919D34-2D10-ED47-6B6A-8AEBBFC899B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578791" y="3402130"/>
              <a:ext cx="743388" cy="822870"/>
            </a:xfrm>
            <a:prstGeom prst="rect">
              <a:avLst/>
            </a:prstGeom>
          </p:spPr>
        </p:pic>
        <p:pic>
          <p:nvPicPr>
            <p:cNvPr id="199" name="Picture 198">
              <a:extLst>
                <a:ext uri="{FF2B5EF4-FFF2-40B4-BE49-F238E27FC236}">
                  <a16:creationId xmlns:a16="http://schemas.microsoft.com/office/drawing/2014/main" id="{9D35A3E4-99CA-A042-0C81-0CC5FB03898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179918" y="3402130"/>
              <a:ext cx="743388" cy="822870"/>
            </a:xfrm>
            <a:prstGeom prst="rect">
              <a:avLst/>
            </a:prstGeom>
          </p:spPr>
        </p:pic>
      </p:grpSp>
      <p:sp>
        <p:nvSpPr>
          <p:cNvPr id="150" name="Rectangle 149">
            <a:extLst>
              <a:ext uri="{FF2B5EF4-FFF2-40B4-BE49-F238E27FC236}">
                <a16:creationId xmlns:a16="http://schemas.microsoft.com/office/drawing/2014/main" id="{0A16B330-F490-48A9-1C32-8325F94E4ED0}"/>
              </a:ext>
            </a:extLst>
          </p:cNvPr>
          <p:cNvSpPr/>
          <p:nvPr/>
        </p:nvSpPr>
        <p:spPr>
          <a:xfrm>
            <a:off x="6885376" y="8038710"/>
            <a:ext cx="4375141" cy="5234956"/>
          </a:xfrm>
          <a:prstGeom prst="rect">
            <a:avLst/>
          </a:prstGeom>
          <a:solidFill>
            <a:schemeClr val="accent2">
              <a:alpha val="61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ontserrat Black" panose="00000A00000000000000" pitchFamily="2" charset="0"/>
              </a:rPr>
              <a:t>Disk Group 2</a:t>
            </a:r>
          </a:p>
          <a:p>
            <a:pPr algn="ctr"/>
            <a:r>
              <a:rPr lang="en-US" sz="2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ontserrat Black" panose="00000A00000000000000" pitchFamily="2" charset="0"/>
              </a:rPr>
              <a:t>ADAPT 16+2 </a:t>
            </a:r>
          </a:p>
          <a:p>
            <a:pPr algn="ctr"/>
            <a:r>
              <a:rPr lang="en-US" sz="2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ontserrat Black" panose="00000A00000000000000" pitchFamily="2" charset="0"/>
              </a:rPr>
              <a:t>Erasure Coding</a:t>
            </a:r>
          </a:p>
        </p:txBody>
      </p:sp>
      <p:grpSp>
        <p:nvGrpSpPr>
          <p:cNvPr id="201" name="Group 200">
            <a:extLst>
              <a:ext uri="{FF2B5EF4-FFF2-40B4-BE49-F238E27FC236}">
                <a16:creationId xmlns:a16="http://schemas.microsoft.com/office/drawing/2014/main" id="{5BDEEFB2-96EF-4683-4A5A-C04B43DD00BA}"/>
              </a:ext>
            </a:extLst>
          </p:cNvPr>
          <p:cNvGrpSpPr/>
          <p:nvPr/>
        </p:nvGrpSpPr>
        <p:grpSpPr>
          <a:xfrm>
            <a:off x="12698654" y="8065034"/>
            <a:ext cx="4716215" cy="3084180"/>
            <a:chOff x="4796690" y="8607507"/>
            <a:chExt cx="7650348" cy="3855886"/>
          </a:xfrm>
        </p:grpSpPr>
        <p:grpSp>
          <p:nvGrpSpPr>
            <p:cNvPr id="202" name="Group 201">
              <a:extLst>
                <a:ext uri="{FF2B5EF4-FFF2-40B4-BE49-F238E27FC236}">
                  <a16:creationId xmlns:a16="http://schemas.microsoft.com/office/drawing/2014/main" id="{287158C5-7CA8-2AEC-F82F-B28CE134DDDA}"/>
                </a:ext>
              </a:extLst>
            </p:cNvPr>
            <p:cNvGrpSpPr/>
            <p:nvPr/>
          </p:nvGrpSpPr>
          <p:grpSpPr>
            <a:xfrm>
              <a:off x="4796690" y="8607507"/>
              <a:ext cx="7650348" cy="1230558"/>
              <a:chOff x="5400136" y="9157223"/>
              <a:chExt cx="7650348" cy="1230558"/>
            </a:xfrm>
          </p:grpSpPr>
          <p:sp>
            <p:nvSpPr>
              <p:cNvPr id="217" name="Cylinder 216">
                <a:extLst>
                  <a:ext uri="{FF2B5EF4-FFF2-40B4-BE49-F238E27FC236}">
                    <a16:creationId xmlns:a16="http://schemas.microsoft.com/office/drawing/2014/main" id="{4C736938-0645-7900-73A0-9B081293A561}"/>
                  </a:ext>
                </a:extLst>
              </p:cNvPr>
              <p:cNvSpPr/>
              <p:nvPr/>
            </p:nvSpPr>
            <p:spPr>
              <a:xfrm>
                <a:off x="5400136" y="9157223"/>
                <a:ext cx="1204716" cy="1230558"/>
              </a:xfrm>
              <a:prstGeom prst="can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b="1" dirty="0">
                    <a:latin typeface="Montserrat Black" panose="00000A00000000000000" pitchFamily="2" charset="0"/>
                  </a:rPr>
                  <a:t>VOLUME</a:t>
                </a:r>
              </a:p>
            </p:txBody>
          </p:sp>
          <p:sp>
            <p:nvSpPr>
              <p:cNvPr id="218" name="Cylinder 217">
                <a:extLst>
                  <a:ext uri="{FF2B5EF4-FFF2-40B4-BE49-F238E27FC236}">
                    <a16:creationId xmlns:a16="http://schemas.microsoft.com/office/drawing/2014/main" id="{1452980B-3145-5ABE-DF35-119F22336D04}"/>
                  </a:ext>
                </a:extLst>
              </p:cNvPr>
              <p:cNvSpPr/>
              <p:nvPr/>
            </p:nvSpPr>
            <p:spPr>
              <a:xfrm>
                <a:off x="6689262" y="9157223"/>
                <a:ext cx="1204716" cy="1230558"/>
              </a:xfrm>
              <a:prstGeom prst="can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b="1" dirty="0">
                    <a:latin typeface="Montserrat Black" panose="00000A00000000000000" pitchFamily="2" charset="0"/>
                  </a:rPr>
                  <a:t>VOLUME</a:t>
                </a:r>
              </a:p>
            </p:txBody>
          </p:sp>
          <p:sp>
            <p:nvSpPr>
              <p:cNvPr id="219" name="Cylinder 218">
                <a:extLst>
                  <a:ext uri="{FF2B5EF4-FFF2-40B4-BE49-F238E27FC236}">
                    <a16:creationId xmlns:a16="http://schemas.microsoft.com/office/drawing/2014/main" id="{C7564125-B3A1-2F9C-146F-2BAE988F4569}"/>
                  </a:ext>
                </a:extLst>
              </p:cNvPr>
              <p:cNvSpPr/>
              <p:nvPr/>
            </p:nvSpPr>
            <p:spPr>
              <a:xfrm>
                <a:off x="7978388" y="9157223"/>
                <a:ext cx="1204716" cy="1230558"/>
              </a:xfrm>
              <a:prstGeom prst="can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b="1" dirty="0">
                    <a:latin typeface="Montserrat Black" panose="00000A00000000000000" pitchFamily="2" charset="0"/>
                  </a:rPr>
                  <a:t>VOLUME</a:t>
                </a:r>
              </a:p>
            </p:txBody>
          </p:sp>
          <p:sp>
            <p:nvSpPr>
              <p:cNvPr id="220" name="Cylinder 219">
                <a:extLst>
                  <a:ext uri="{FF2B5EF4-FFF2-40B4-BE49-F238E27FC236}">
                    <a16:creationId xmlns:a16="http://schemas.microsoft.com/office/drawing/2014/main" id="{BD045B13-782B-4D0B-4F08-03FF58E2378F}"/>
                  </a:ext>
                </a:extLst>
              </p:cNvPr>
              <p:cNvSpPr/>
              <p:nvPr/>
            </p:nvSpPr>
            <p:spPr>
              <a:xfrm>
                <a:off x="9267514" y="9157223"/>
                <a:ext cx="1204716" cy="1230558"/>
              </a:xfrm>
              <a:prstGeom prst="can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b="1" dirty="0">
                    <a:latin typeface="Montserrat Black" panose="00000A00000000000000" pitchFamily="2" charset="0"/>
                  </a:rPr>
                  <a:t>VOLUME</a:t>
                </a:r>
              </a:p>
            </p:txBody>
          </p:sp>
          <p:sp>
            <p:nvSpPr>
              <p:cNvPr id="221" name="Cylinder 220">
                <a:extLst>
                  <a:ext uri="{FF2B5EF4-FFF2-40B4-BE49-F238E27FC236}">
                    <a16:creationId xmlns:a16="http://schemas.microsoft.com/office/drawing/2014/main" id="{74A5DECA-4EC2-70A5-38D7-B91DB9B4345F}"/>
                  </a:ext>
                </a:extLst>
              </p:cNvPr>
              <p:cNvSpPr/>
              <p:nvPr/>
            </p:nvSpPr>
            <p:spPr>
              <a:xfrm>
                <a:off x="10556640" y="9157223"/>
                <a:ext cx="1204716" cy="1230558"/>
              </a:xfrm>
              <a:prstGeom prst="can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b="1" dirty="0">
                    <a:latin typeface="Montserrat Black" panose="00000A00000000000000" pitchFamily="2" charset="0"/>
                  </a:rPr>
                  <a:t>VOLUME</a:t>
                </a:r>
              </a:p>
            </p:txBody>
          </p:sp>
          <p:sp>
            <p:nvSpPr>
              <p:cNvPr id="222" name="Cylinder 221">
                <a:extLst>
                  <a:ext uri="{FF2B5EF4-FFF2-40B4-BE49-F238E27FC236}">
                    <a16:creationId xmlns:a16="http://schemas.microsoft.com/office/drawing/2014/main" id="{82FF2572-AF57-C738-9B06-84EF3D33645D}"/>
                  </a:ext>
                </a:extLst>
              </p:cNvPr>
              <p:cNvSpPr/>
              <p:nvPr/>
            </p:nvSpPr>
            <p:spPr>
              <a:xfrm>
                <a:off x="11845768" y="9157223"/>
                <a:ext cx="1204716" cy="1230558"/>
              </a:xfrm>
              <a:prstGeom prst="can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b="1" dirty="0">
                    <a:latin typeface="Montserrat Black" panose="00000A00000000000000" pitchFamily="2" charset="0"/>
                  </a:rPr>
                  <a:t>VOLUME</a:t>
                </a:r>
              </a:p>
            </p:txBody>
          </p:sp>
        </p:grpSp>
        <p:grpSp>
          <p:nvGrpSpPr>
            <p:cNvPr id="203" name="Group 202">
              <a:extLst>
                <a:ext uri="{FF2B5EF4-FFF2-40B4-BE49-F238E27FC236}">
                  <a16:creationId xmlns:a16="http://schemas.microsoft.com/office/drawing/2014/main" id="{A70A01DF-68C3-32CC-2B2D-0B741D8B3CA1}"/>
                </a:ext>
              </a:extLst>
            </p:cNvPr>
            <p:cNvGrpSpPr/>
            <p:nvPr/>
          </p:nvGrpSpPr>
          <p:grpSpPr>
            <a:xfrm>
              <a:off x="4796690" y="9920171"/>
              <a:ext cx="7650348" cy="1230558"/>
              <a:chOff x="5400136" y="9157223"/>
              <a:chExt cx="7650348" cy="1230558"/>
            </a:xfrm>
          </p:grpSpPr>
          <p:sp>
            <p:nvSpPr>
              <p:cNvPr id="211" name="Cylinder 210">
                <a:extLst>
                  <a:ext uri="{FF2B5EF4-FFF2-40B4-BE49-F238E27FC236}">
                    <a16:creationId xmlns:a16="http://schemas.microsoft.com/office/drawing/2014/main" id="{66F33DCD-99F8-C5CC-8773-0338950125B8}"/>
                  </a:ext>
                </a:extLst>
              </p:cNvPr>
              <p:cNvSpPr/>
              <p:nvPr/>
            </p:nvSpPr>
            <p:spPr>
              <a:xfrm>
                <a:off x="5400136" y="9157223"/>
                <a:ext cx="1204716" cy="1230558"/>
              </a:xfrm>
              <a:prstGeom prst="can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b="1" dirty="0">
                    <a:latin typeface="Montserrat Black" panose="00000A00000000000000" pitchFamily="2" charset="0"/>
                  </a:rPr>
                  <a:t>VOLUME</a:t>
                </a:r>
              </a:p>
            </p:txBody>
          </p:sp>
          <p:sp>
            <p:nvSpPr>
              <p:cNvPr id="212" name="Cylinder 211">
                <a:extLst>
                  <a:ext uri="{FF2B5EF4-FFF2-40B4-BE49-F238E27FC236}">
                    <a16:creationId xmlns:a16="http://schemas.microsoft.com/office/drawing/2014/main" id="{A812DFED-1641-A6A2-AFA0-62D033BE9344}"/>
                  </a:ext>
                </a:extLst>
              </p:cNvPr>
              <p:cNvSpPr/>
              <p:nvPr/>
            </p:nvSpPr>
            <p:spPr>
              <a:xfrm>
                <a:off x="6689262" y="9157223"/>
                <a:ext cx="1204716" cy="1230558"/>
              </a:xfrm>
              <a:prstGeom prst="can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b="1" dirty="0">
                    <a:latin typeface="Montserrat Black" panose="00000A00000000000000" pitchFamily="2" charset="0"/>
                  </a:rPr>
                  <a:t>VOLUME</a:t>
                </a:r>
              </a:p>
            </p:txBody>
          </p:sp>
          <p:sp>
            <p:nvSpPr>
              <p:cNvPr id="213" name="Cylinder 212">
                <a:extLst>
                  <a:ext uri="{FF2B5EF4-FFF2-40B4-BE49-F238E27FC236}">
                    <a16:creationId xmlns:a16="http://schemas.microsoft.com/office/drawing/2014/main" id="{7843786F-B118-D200-68AA-A90A63D7A160}"/>
                  </a:ext>
                </a:extLst>
              </p:cNvPr>
              <p:cNvSpPr/>
              <p:nvPr/>
            </p:nvSpPr>
            <p:spPr>
              <a:xfrm>
                <a:off x="7978388" y="9157223"/>
                <a:ext cx="1204716" cy="1230558"/>
              </a:xfrm>
              <a:prstGeom prst="can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b="1" dirty="0">
                    <a:latin typeface="Montserrat Black" panose="00000A00000000000000" pitchFamily="2" charset="0"/>
                  </a:rPr>
                  <a:t>VOLUME</a:t>
                </a:r>
              </a:p>
            </p:txBody>
          </p:sp>
          <p:sp>
            <p:nvSpPr>
              <p:cNvPr id="214" name="Cylinder 213">
                <a:extLst>
                  <a:ext uri="{FF2B5EF4-FFF2-40B4-BE49-F238E27FC236}">
                    <a16:creationId xmlns:a16="http://schemas.microsoft.com/office/drawing/2014/main" id="{7CA88E2A-59D2-2CFA-FD99-835784908E78}"/>
                  </a:ext>
                </a:extLst>
              </p:cNvPr>
              <p:cNvSpPr/>
              <p:nvPr/>
            </p:nvSpPr>
            <p:spPr>
              <a:xfrm>
                <a:off x="9267514" y="9157223"/>
                <a:ext cx="1204716" cy="1230558"/>
              </a:xfrm>
              <a:prstGeom prst="can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b="1" dirty="0">
                    <a:latin typeface="Montserrat Black" panose="00000A00000000000000" pitchFamily="2" charset="0"/>
                  </a:rPr>
                  <a:t>VOLUME</a:t>
                </a:r>
              </a:p>
            </p:txBody>
          </p:sp>
          <p:sp>
            <p:nvSpPr>
              <p:cNvPr id="215" name="Cylinder 214">
                <a:extLst>
                  <a:ext uri="{FF2B5EF4-FFF2-40B4-BE49-F238E27FC236}">
                    <a16:creationId xmlns:a16="http://schemas.microsoft.com/office/drawing/2014/main" id="{783A751A-EE8A-B813-B389-93A41D97160E}"/>
                  </a:ext>
                </a:extLst>
              </p:cNvPr>
              <p:cNvSpPr/>
              <p:nvPr/>
            </p:nvSpPr>
            <p:spPr>
              <a:xfrm>
                <a:off x="10556640" y="9157223"/>
                <a:ext cx="1204716" cy="1230558"/>
              </a:xfrm>
              <a:prstGeom prst="can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b="1" dirty="0">
                    <a:latin typeface="Montserrat Black" panose="00000A00000000000000" pitchFamily="2" charset="0"/>
                  </a:rPr>
                  <a:t>VOLUME</a:t>
                </a:r>
              </a:p>
            </p:txBody>
          </p:sp>
          <p:sp>
            <p:nvSpPr>
              <p:cNvPr id="216" name="Cylinder 215">
                <a:extLst>
                  <a:ext uri="{FF2B5EF4-FFF2-40B4-BE49-F238E27FC236}">
                    <a16:creationId xmlns:a16="http://schemas.microsoft.com/office/drawing/2014/main" id="{7912207B-6732-1A51-ACDB-A9619825AE68}"/>
                  </a:ext>
                </a:extLst>
              </p:cNvPr>
              <p:cNvSpPr/>
              <p:nvPr/>
            </p:nvSpPr>
            <p:spPr>
              <a:xfrm>
                <a:off x="11845768" y="9157223"/>
                <a:ext cx="1204716" cy="1230558"/>
              </a:xfrm>
              <a:prstGeom prst="can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b="1" dirty="0">
                    <a:latin typeface="Montserrat Black" panose="00000A00000000000000" pitchFamily="2" charset="0"/>
                  </a:rPr>
                  <a:t>VOLUME</a:t>
                </a:r>
              </a:p>
            </p:txBody>
          </p:sp>
        </p:grpSp>
        <p:grpSp>
          <p:nvGrpSpPr>
            <p:cNvPr id="204" name="Group 203">
              <a:extLst>
                <a:ext uri="{FF2B5EF4-FFF2-40B4-BE49-F238E27FC236}">
                  <a16:creationId xmlns:a16="http://schemas.microsoft.com/office/drawing/2014/main" id="{973A1DE0-D3CA-D7E7-5F28-3718EAE37DF9}"/>
                </a:ext>
              </a:extLst>
            </p:cNvPr>
            <p:cNvGrpSpPr/>
            <p:nvPr/>
          </p:nvGrpSpPr>
          <p:grpSpPr>
            <a:xfrm>
              <a:off x="4796690" y="11232835"/>
              <a:ext cx="7650348" cy="1230558"/>
              <a:chOff x="5400136" y="9157223"/>
              <a:chExt cx="7650348" cy="1230558"/>
            </a:xfrm>
          </p:grpSpPr>
          <p:sp>
            <p:nvSpPr>
              <p:cNvPr id="205" name="Cylinder 204">
                <a:extLst>
                  <a:ext uri="{FF2B5EF4-FFF2-40B4-BE49-F238E27FC236}">
                    <a16:creationId xmlns:a16="http://schemas.microsoft.com/office/drawing/2014/main" id="{9460EEA2-AFB7-B0D5-37D2-F3C635F0212F}"/>
                  </a:ext>
                </a:extLst>
              </p:cNvPr>
              <p:cNvSpPr/>
              <p:nvPr/>
            </p:nvSpPr>
            <p:spPr>
              <a:xfrm>
                <a:off x="5400136" y="9157223"/>
                <a:ext cx="1204716" cy="1230558"/>
              </a:xfrm>
              <a:prstGeom prst="can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b="1" dirty="0">
                    <a:latin typeface="Montserrat Black" panose="00000A00000000000000" pitchFamily="2" charset="0"/>
                  </a:rPr>
                  <a:t>VOLUME</a:t>
                </a:r>
              </a:p>
            </p:txBody>
          </p:sp>
          <p:sp>
            <p:nvSpPr>
              <p:cNvPr id="206" name="Cylinder 205">
                <a:extLst>
                  <a:ext uri="{FF2B5EF4-FFF2-40B4-BE49-F238E27FC236}">
                    <a16:creationId xmlns:a16="http://schemas.microsoft.com/office/drawing/2014/main" id="{DD596325-EC1B-9E06-2B0B-F53B18B0918A}"/>
                  </a:ext>
                </a:extLst>
              </p:cNvPr>
              <p:cNvSpPr/>
              <p:nvPr/>
            </p:nvSpPr>
            <p:spPr>
              <a:xfrm>
                <a:off x="6689262" y="9157223"/>
                <a:ext cx="1204716" cy="1230558"/>
              </a:xfrm>
              <a:prstGeom prst="can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b="1" dirty="0">
                    <a:latin typeface="Montserrat Black" panose="00000A00000000000000" pitchFamily="2" charset="0"/>
                  </a:rPr>
                  <a:t>VOLUME</a:t>
                </a:r>
              </a:p>
            </p:txBody>
          </p:sp>
          <p:sp>
            <p:nvSpPr>
              <p:cNvPr id="207" name="Cylinder 206">
                <a:extLst>
                  <a:ext uri="{FF2B5EF4-FFF2-40B4-BE49-F238E27FC236}">
                    <a16:creationId xmlns:a16="http://schemas.microsoft.com/office/drawing/2014/main" id="{879192EE-2AF5-5B73-226E-93883B2927FF}"/>
                  </a:ext>
                </a:extLst>
              </p:cNvPr>
              <p:cNvSpPr/>
              <p:nvPr/>
            </p:nvSpPr>
            <p:spPr>
              <a:xfrm>
                <a:off x="7978388" y="9157223"/>
                <a:ext cx="1204716" cy="1230558"/>
              </a:xfrm>
              <a:prstGeom prst="can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b="1" dirty="0">
                    <a:latin typeface="Montserrat Black" panose="00000A00000000000000" pitchFamily="2" charset="0"/>
                  </a:rPr>
                  <a:t>VOLUME</a:t>
                </a:r>
              </a:p>
            </p:txBody>
          </p:sp>
          <p:sp>
            <p:nvSpPr>
              <p:cNvPr id="208" name="Cylinder 207">
                <a:extLst>
                  <a:ext uri="{FF2B5EF4-FFF2-40B4-BE49-F238E27FC236}">
                    <a16:creationId xmlns:a16="http://schemas.microsoft.com/office/drawing/2014/main" id="{8DC1C268-76A2-5822-EC4B-180B68992C0D}"/>
                  </a:ext>
                </a:extLst>
              </p:cNvPr>
              <p:cNvSpPr/>
              <p:nvPr/>
            </p:nvSpPr>
            <p:spPr>
              <a:xfrm>
                <a:off x="9267514" y="9157223"/>
                <a:ext cx="1204716" cy="1230558"/>
              </a:xfrm>
              <a:prstGeom prst="can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b="1" dirty="0">
                    <a:latin typeface="Montserrat Black" panose="00000A00000000000000" pitchFamily="2" charset="0"/>
                  </a:rPr>
                  <a:t>VOLUME</a:t>
                </a:r>
              </a:p>
            </p:txBody>
          </p:sp>
          <p:sp>
            <p:nvSpPr>
              <p:cNvPr id="209" name="Cylinder 208">
                <a:extLst>
                  <a:ext uri="{FF2B5EF4-FFF2-40B4-BE49-F238E27FC236}">
                    <a16:creationId xmlns:a16="http://schemas.microsoft.com/office/drawing/2014/main" id="{2379F921-E913-623F-57D5-410B56AFD38C}"/>
                  </a:ext>
                </a:extLst>
              </p:cNvPr>
              <p:cNvSpPr/>
              <p:nvPr/>
            </p:nvSpPr>
            <p:spPr>
              <a:xfrm>
                <a:off x="10556640" y="9157223"/>
                <a:ext cx="1204716" cy="1230558"/>
              </a:xfrm>
              <a:prstGeom prst="can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b="1" dirty="0">
                    <a:latin typeface="Montserrat Black" panose="00000A00000000000000" pitchFamily="2" charset="0"/>
                  </a:rPr>
                  <a:t>VOLUME</a:t>
                </a:r>
              </a:p>
            </p:txBody>
          </p:sp>
          <p:sp>
            <p:nvSpPr>
              <p:cNvPr id="210" name="Cylinder 209">
                <a:extLst>
                  <a:ext uri="{FF2B5EF4-FFF2-40B4-BE49-F238E27FC236}">
                    <a16:creationId xmlns:a16="http://schemas.microsoft.com/office/drawing/2014/main" id="{D9863884-FD56-7244-1932-066FD9D5950F}"/>
                  </a:ext>
                </a:extLst>
              </p:cNvPr>
              <p:cNvSpPr/>
              <p:nvPr/>
            </p:nvSpPr>
            <p:spPr>
              <a:xfrm>
                <a:off x="11845768" y="9157223"/>
                <a:ext cx="1204716" cy="1230558"/>
              </a:xfrm>
              <a:prstGeom prst="can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b="1" dirty="0">
                    <a:latin typeface="Montserrat Black" panose="00000A00000000000000" pitchFamily="2" charset="0"/>
                  </a:rPr>
                  <a:t>VOLUME</a:t>
                </a:r>
              </a:p>
            </p:txBody>
          </p:sp>
        </p:grpSp>
      </p:grpSp>
      <p:sp>
        <p:nvSpPr>
          <p:cNvPr id="225" name="Arrow: Right 224">
            <a:extLst>
              <a:ext uri="{FF2B5EF4-FFF2-40B4-BE49-F238E27FC236}">
                <a16:creationId xmlns:a16="http://schemas.microsoft.com/office/drawing/2014/main" id="{4692E7AF-E2C9-34AD-AD5E-A06EFF9DC2C9}"/>
              </a:ext>
            </a:extLst>
          </p:cNvPr>
          <p:cNvSpPr/>
          <p:nvPr/>
        </p:nvSpPr>
        <p:spPr>
          <a:xfrm>
            <a:off x="11519353" y="5075472"/>
            <a:ext cx="1006173" cy="866711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Open Sans Light"/>
            </a:endParaRPr>
          </a:p>
        </p:txBody>
      </p:sp>
      <p:sp>
        <p:nvSpPr>
          <p:cNvPr id="226" name="Arrow: Right 225">
            <a:extLst>
              <a:ext uri="{FF2B5EF4-FFF2-40B4-BE49-F238E27FC236}">
                <a16:creationId xmlns:a16="http://schemas.microsoft.com/office/drawing/2014/main" id="{A2BE37B5-2F7E-BE33-DD6B-70F412A21EF7}"/>
              </a:ext>
            </a:extLst>
          </p:cNvPr>
          <p:cNvSpPr/>
          <p:nvPr/>
        </p:nvSpPr>
        <p:spPr>
          <a:xfrm>
            <a:off x="11494313" y="9544780"/>
            <a:ext cx="1006173" cy="866711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Open Sans Light"/>
            </a:endParaRPr>
          </a:p>
        </p:txBody>
      </p:sp>
      <p:pic>
        <p:nvPicPr>
          <p:cNvPr id="227" name="Picture 226">
            <a:extLst>
              <a:ext uri="{FF2B5EF4-FFF2-40B4-BE49-F238E27FC236}">
                <a16:creationId xmlns:a16="http://schemas.microsoft.com/office/drawing/2014/main" id="{B5B22617-82B9-1B7F-E6FD-0E1AB48CFF1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289820" y="7388890"/>
            <a:ext cx="4680804" cy="842548"/>
          </a:xfrm>
          <a:prstGeom prst="rect">
            <a:avLst/>
          </a:prstGeom>
        </p:spPr>
      </p:pic>
      <p:sp>
        <p:nvSpPr>
          <p:cNvPr id="228" name="Arrow: Right 227">
            <a:extLst>
              <a:ext uri="{FF2B5EF4-FFF2-40B4-BE49-F238E27FC236}">
                <a16:creationId xmlns:a16="http://schemas.microsoft.com/office/drawing/2014/main" id="{98332D75-BE82-2B35-BA73-C3439AB10B2E}"/>
              </a:ext>
            </a:extLst>
          </p:cNvPr>
          <p:cNvSpPr/>
          <p:nvPr/>
        </p:nvSpPr>
        <p:spPr>
          <a:xfrm>
            <a:off x="11572064" y="6836095"/>
            <a:ext cx="7366512" cy="866711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Open Sans Light"/>
              </a:rPr>
              <a:t>SAS</a:t>
            </a:r>
          </a:p>
        </p:txBody>
      </p:sp>
      <p:sp>
        <p:nvSpPr>
          <p:cNvPr id="229" name="Arrow: Right 228">
            <a:extLst>
              <a:ext uri="{FF2B5EF4-FFF2-40B4-BE49-F238E27FC236}">
                <a16:creationId xmlns:a16="http://schemas.microsoft.com/office/drawing/2014/main" id="{1A6133EE-898B-ECFF-2949-EBDB42C9F354}"/>
              </a:ext>
            </a:extLst>
          </p:cNvPr>
          <p:cNvSpPr/>
          <p:nvPr/>
        </p:nvSpPr>
        <p:spPr>
          <a:xfrm>
            <a:off x="11572064" y="7953646"/>
            <a:ext cx="7366512" cy="866711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Open Sans Light"/>
              </a:rPr>
              <a:t>SAS</a:t>
            </a:r>
          </a:p>
        </p:txBody>
      </p:sp>
      <p:sp>
        <p:nvSpPr>
          <p:cNvPr id="231" name="TextBox 230">
            <a:extLst>
              <a:ext uri="{FF2B5EF4-FFF2-40B4-BE49-F238E27FC236}">
                <a16:creationId xmlns:a16="http://schemas.microsoft.com/office/drawing/2014/main" id="{25262626-1021-2923-224B-43CF4EE1CCC8}"/>
              </a:ext>
            </a:extLst>
          </p:cNvPr>
          <p:cNvSpPr txBox="1"/>
          <p:nvPr/>
        </p:nvSpPr>
        <p:spPr>
          <a:xfrm>
            <a:off x="12678258" y="3832688"/>
            <a:ext cx="470497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ontserrat Black" panose="00000A00000000000000" pitchFamily="2" charset="0"/>
              </a:rPr>
              <a:t>Logical Volumes</a:t>
            </a:r>
          </a:p>
        </p:txBody>
      </p:sp>
      <p:pic>
        <p:nvPicPr>
          <p:cNvPr id="232" name="Picture 231">
            <a:extLst>
              <a:ext uri="{FF2B5EF4-FFF2-40B4-BE49-F238E27FC236}">
                <a16:creationId xmlns:a16="http://schemas.microsoft.com/office/drawing/2014/main" id="{7A5A3A83-CC82-0427-FFDA-DB1D15F27A2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140069" y="7558427"/>
            <a:ext cx="2865884" cy="410716"/>
          </a:xfrm>
          <a:prstGeom prst="rect">
            <a:avLst/>
          </a:prstGeom>
        </p:spPr>
      </p:pic>
      <p:sp>
        <p:nvSpPr>
          <p:cNvPr id="233" name="Arrow: Right 232">
            <a:extLst>
              <a:ext uri="{FF2B5EF4-FFF2-40B4-BE49-F238E27FC236}">
                <a16:creationId xmlns:a16="http://schemas.microsoft.com/office/drawing/2014/main" id="{00FFEDE2-0173-0204-0BCB-810EBEA81CDB}"/>
              </a:ext>
            </a:extLst>
          </p:cNvPr>
          <p:cNvSpPr/>
          <p:nvPr/>
        </p:nvSpPr>
        <p:spPr>
          <a:xfrm>
            <a:off x="17835706" y="6839914"/>
            <a:ext cx="1102870" cy="866711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Open Sans Light"/>
              </a:rPr>
              <a:t>SAS</a:t>
            </a:r>
          </a:p>
        </p:txBody>
      </p:sp>
      <p:sp>
        <p:nvSpPr>
          <p:cNvPr id="234" name="Arrow: Right 233">
            <a:extLst>
              <a:ext uri="{FF2B5EF4-FFF2-40B4-BE49-F238E27FC236}">
                <a16:creationId xmlns:a16="http://schemas.microsoft.com/office/drawing/2014/main" id="{C8E4454E-C58F-FD77-21A5-34DDBFAE4A6A}"/>
              </a:ext>
            </a:extLst>
          </p:cNvPr>
          <p:cNvSpPr/>
          <p:nvPr/>
        </p:nvSpPr>
        <p:spPr>
          <a:xfrm>
            <a:off x="17835706" y="7957465"/>
            <a:ext cx="1102870" cy="866711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latin typeface="Open Sans Light"/>
              </a:rPr>
              <a:t>SAS</a:t>
            </a:r>
          </a:p>
        </p:txBody>
      </p:sp>
      <p:sp>
        <p:nvSpPr>
          <p:cNvPr id="239" name="TextBox 238">
            <a:extLst>
              <a:ext uri="{FF2B5EF4-FFF2-40B4-BE49-F238E27FC236}">
                <a16:creationId xmlns:a16="http://schemas.microsoft.com/office/drawing/2014/main" id="{CD62AE83-8A2E-A61F-7176-BC36A1C0F6E4}"/>
              </a:ext>
            </a:extLst>
          </p:cNvPr>
          <p:cNvSpPr txBox="1"/>
          <p:nvPr/>
        </p:nvSpPr>
        <p:spPr>
          <a:xfrm>
            <a:off x="1582881" y="9049312"/>
            <a:ext cx="3799425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  <a:cs typeface="Open Sans Light"/>
              </a:rPr>
              <a:t>Seagate </a:t>
            </a:r>
            <a:r>
              <a:rPr lang="en-US" sz="2400" dirty="0" err="1">
                <a:solidFill>
                  <a:schemeClr val="bg1"/>
                </a:solidFill>
                <a:cs typeface="Open Sans Light"/>
              </a:rPr>
              <a:t>Exos</a:t>
            </a:r>
            <a:r>
              <a:rPr lang="en-US" sz="2400" dirty="0">
                <a:solidFill>
                  <a:schemeClr val="bg1"/>
                </a:solidFill>
                <a:cs typeface="Open Sans Light"/>
              </a:rPr>
              <a:t> E 5U84 JBODs deliver media direct to systems via SAS but don’t bring the huge benefits of ADR &amp; ADAPT.</a:t>
            </a:r>
          </a:p>
        </p:txBody>
      </p:sp>
      <p:sp>
        <p:nvSpPr>
          <p:cNvPr id="240" name="TextBox 239">
            <a:extLst>
              <a:ext uri="{FF2B5EF4-FFF2-40B4-BE49-F238E27FC236}">
                <a16:creationId xmlns:a16="http://schemas.microsoft.com/office/drawing/2014/main" id="{2A399E21-83C7-0015-0580-2BB10AFE9858}"/>
              </a:ext>
            </a:extLst>
          </p:cNvPr>
          <p:cNvSpPr txBox="1"/>
          <p:nvPr/>
        </p:nvSpPr>
        <p:spPr>
          <a:xfrm>
            <a:off x="1582880" y="4169934"/>
            <a:ext cx="3799425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  <a:cs typeface="Open Sans Light"/>
              </a:rPr>
              <a:t>Seagate Corvault 5U84 systems deliver fault tolerant Logical Volumes to systems via SAS but with fast auto-healing technology.</a:t>
            </a:r>
          </a:p>
        </p:txBody>
      </p:sp>
      <p:grpSp>
        <p:nvGrpSpPr>
          <p:cNvPr id="242" name="Group 241">
            <a:extLst>
              <a:ext uri="{FF2B5EF4-FFF2-40B4-BE49-F238E27FC236}">
                <a16:creationId xmlns:a16="http://schemas.microsoft.com/office/drawing/2014/main" id="{87C7356A-C60A-4623-69E5-E76A06F596F9}"/>
              </a:ext>
            </a:extLst>
          </p:cNvPr>
          <p:cNvGrpSpPr/>
          <p:nvPr/>
        </p:nvGrpSpPr>
        <p:grpSpPr>
          <a:xfrm>
            <a:off x="12702714" y="4617412"/>
            <a:ext cx="4716215" cy="3084180"/>
            <a:chOff x="4796690" y="8607507"/>
            <a:chExt cx="7650348" cy="3855886"/>
          </a:xfrm>
        </p:grpSpPr>
        <p:grpSp>
          <p:nvGrpSpPr>
            <p:cNvPr id="243" name="Group 242">
              <a:extLst>
                <a:ext uri="{FF2B5EF4-FFF2-40B4-BE49-F238E27FC236}">
                  <a16:creationId xmlns:a16="http://schemas.microsoft.com/office/drawing/2014/main" id="{925C2083-56A5-369D-32CE-BDF19A277F70}"/>
                </a:ext>
              </a:extLst>
            </p:cNvPr>
            <p:cNvGrpSpPr/>
            <p:nvPr/>
          </p:nvGrpSpPr>
          <p:grpSpPr>
            <a:xfrm>
              <a:off x="4796690" y="8607507"/>
              <a:ext cx="7650348" cy="1230558"/>
              <a:chOff x="5400136" y="9157223"/>
              <a:chExt cx="7650348" cy="1230558"/>
            </a:xfrm>
          </p:grpSpPr>
          <p:sp>
            <p:nvSpPr>
              <p:cNvPr id="258" name="Cylinder 257">
                <a:extLst>
                  <a:ext uri="{FF2B5EF4-FFF2-40B4-BE49-F238E27FC236}">
                    <a16:creationId xmlns:a16="http://schemas.microsoft.com/office/drawing/2014/main" id="{2F4A91C3-9414-850C-9797-0A0B0BF171F5}"/>
                  </a:ext>
                </a:extLst>
              </p:cNvPr>
              <p:cNvSpPr/>
              <p:nvPr/>
            </p:nvSpPr>
            <p:spPr>
              <a:xfrm>
                <a:off x="5400136" y="9157223"/>
                <a:ext cx="1204716" cy="1230558"/>
              </a:xfrm>
              <a:prstGeom prst="can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b="1" dirty="0">
                    <a:latin typeface="Montserrat Black" panose="00000A00000000000000" pitchFamily="2" charset="0"/>
                  </a:rPr>
                  <a:t>VOLUME</a:t>
                </a:r>
              </a:p>
            </p:txBody>
          </p:sp>
          <p:sp>
            <p:nvSpPr>
              <p:cNvPr id="259" name="Cylinder 258">
                <a:extLst>
                  <a:ext uri="{FF2B5EF4-FFF2-40B4-BE49-F238E27FC236}">
                    <a16:creationId xmlns:a16="http://schemas.microsoft.com/office/drawing/2014/main" id="{59E1F5E5-B0D4-DCBE-0E33-28467B859AF0}"/>
                  </a:ext>
                </a:extLst>
              </p:cNvPr>
              <p:cNvSpPr/>
              <p:nvPr/>
            </p:nvSpPr>
            <p:spPr>
              <a:xfrm>
                <a:off x="6689262" y="9157223"/>
                <a:ext cx="1204716" cy="1230558"/>
              </a:xfrm>
              <a:prstGeom prst="can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b="1" dirty="0">
                    <a:latin typeface="Montserrat Black" panose="00000A00000000000000" pitchFamily="2" charset="0"/>
                  </a:rPr>
                  <a:t>VOLUME</a:t>
                </a:r>
              </a:p>
            </p:txBody>
          </p:sp>
          <p:sp>
            <p:nvSpPr>
              <p:cNvPr id="260" name="Cylinder 259">
                <a:extLst>
                  <a:ext uri="{FF2B5EF4-FFF2-40B4-BE49-F238E27FC236}">
                    <a16:creationId xmlns:a16="http://schemas.microsoft.com/office/drawing/2014/main" id="{AB2D57FF-A7CF-59FF-ADCC-B2A3B1349C11}"/>
                  </a:ext>
                </a:extLst>
              </p:cNvPr>
              <p:cNvSpPr/>
              <p:nvPr/>
            </p:nvSpPr>
            <p:spPr>
              <a:xfrm>
                <a:off x="7978388" y="9157223"/>
                <a:ext cx="1204716" cy="1230558"/>
              </a:xfrm>
              <a:prstGeom prst="can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b="1" dirty="0">
                    <a:latin typeface="Montserrat Black" panose="00000A00000000000000" pitchFamily="2" charset="0"/>
                  </a:rPr>
                  <a:t>VOLUME</a:t>
                </a:r>
              </a:p>
            </p:txBody>
          </p:sp>
          <p:sp>
            <p:nvSpPr>
              <p:cNvPr id="261" name="Cylinder 260">
                <a:extLst>
                  <a:ext uri="{FF2B5EF4-FFF2-40B4-BE49-F238E27FC236}">
                    <a16:creationId xmlns:a16="http://schemas.microsoft.com/office/drawing/2014/main" id="{F4EEB750-0A40-0392-40E5-CBE8B784C479}"/>
                  </a:ext>
                </a:extLst>
              </p:cNvPr>
              <p:cNvSpPr/>
              <p:nvPr/>
            </p:nvSpPr>
            <p:spPr>
              <a:xfrm>
                <a:off x="9267514" y="9157223"/>
                <a:ext cx="1204716" cy="1230558"/>
              </a:xfrm>
              <a:prstGeom prst="can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b="1" dirty="0">
                    <a:latin typeface="Montserrat Black" panose="00000A00000000000000" pitchFamily="2" charset="0"/>
                  </a:rPr>
                  <a:t>VOLUME</a:t>
                </a:r>
              </a:p>
            </p:txBody>
          </p:sp>
          <p:sp>
            <p:nvSpPr>
              <p:cNvPr id="262" name="Cylinder 261">
                <a:extLst>
                  <a:ext uri="{FF2B5EF4-FFF2-40B4-BE49-F238E27FC236}">
                    <a16:creationId xmlns:a16="http://schemas.microsoft.com/office/drawing/2014/main" id="{98D8DE4F-C453-150C-C28F-B04231489CE8}"/>
                  </a:ext>
                </a:extLst>
              </p:cNvPr>
              <p:cNvSpPr/>
              <p:nvPr/>
            </p:nvSpPr>
            <p:spPr>
              <a:xfrm>
                <a:off x="10556640" y="9157223"/>
                <a:ext cx="1204716" cy="1230558"/>
              </a:xfrm>
              <a:prstGeom prst="can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b="1" dirty="0">
                    <a:latin typeface="Montserrat Black" panose="00000A00000000000000" pitchFamily="2" charset="0"/>
                  </a:rPr>
                  <a:t>VOLUME</a:t>
                </a:r>
              </a:p>
            </p:txBody>
          </p:sp>
          <p:sp>
            <p:nvSpPr>
              <p:cNvPr id="263" name="Cylinder 262">
                <a:extLst>
                  <a:ext uri="{FF2B5EF4-FFF2-40B4-BE49-F238E27FC236}">
                    <a16:creationId xmlns:a16="http://schemas.microsoft.com/office/drawing/2014/main" id="{619A053E-6651-2893-8AF7-1F2176A0CA87}"/>
                  </a:ext>
                </a:extLst>
              </p:cNvPr>
              <p:cNvSpPr/>
              <p:nvPr/>
            </p:nvSpPr>
            <p:spPr>
              <a:xfrm>
                <a:off x="11845768" y="9157223"/>
                <a:ext cx="1204716" cy="1230558"/>
              </a:xfrm>
              <a:prstGeom prst="can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b="1" dirty="0">
                    <a:latin typeface="Montserrat Black" panose="00000A00000000000000" pitchFamily="2" charset="0"/>
                  </a:rPr>
                  <a:t>VOLUME</a:t>
                </a:r>
              </a:p>
            </p:txBody>
          </p:sp>
        </p:grpSp>
        <p:grpSp>
          <p:nvGrpSpPr>
            <p:cNvPr id="244" name="Group 243">
              <a:extLst>
                <a:ext uri="{FF2B5EF4-FFF2-40B4-BE49-F238E27FC236}">
                  <a16:creationId xmlns:a16="http://schemas.microsoft.com/office/drawing/2014/main" id="{812F288D-C78F-A438-2F16-E635E1391CEA}"/>
                </a:ext>
              </a:extLst>
            </p:cNvPr>
            <p:cNvGrpSpPr/>
            <p:nvPr/>
          </p:nvGrpSpPr>
          <p:grpSpPr>
            <a:xfrm>
              <a:off x="4796690" y="9920171"/>
              <a:ext cx="7650348" cy="1230558"/>
              <a:chOff x="5400136" y="9157223"/>
              <a:chExt cx="7650348" cy="1230558"/>
            </a:xfrm>
          </p:grpSpPr>
          <p:sp>
            <p:nvSpPr>
              <p:cNvPr id="252" name="Cylinder 251">
                <a:extLst>
                  <a:ext uri="{FF2B5EF4-FFF2-40B4-BE49-F238E27FC236}">
                    <a16:creationId xmlns:a16="http://schemas.microsoft.com/office/drawing/2014/main" id="{366FE712-7D4E-C5BC-E8EB-F60D4D2C6E5E}"/>
                  </a:ext>
                </a:extLst>
              </p:cNvPr>
              <p:cNvSpPr/>
              <p:nvPr/>
            </p:nvSpPr>
            <p:spPr>
              <a:xfrm>
                <a:off x="5400136" y="9157223"/>
                <a:ext cx="1204716" cy="1230558"/>
              </a:xfrm>
              <a:prstGeom prst="can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b="1" dirty="0">
                    <a:latin typeface="Montserrat Black" panose="00000A00000000000000" pitchFamily="2" charset="0"/>
                  </a:rPr>
                  <a:t>VOLUME</a:t>
                </a:r>
              </a:p>
            </p:txBody>
          </p:sp>
          <p:sp>
            <p:nvSpPr>
              <p:cNvPr id="253" name="Cylinder 252">
                <a:extLst>
                  <a:ext uri="{FF2B5EF4-FFF2-40B4-BE49-F238E27FC236}">
                    <a16:creationId xmlns:a16="http://schemas.microsoft.com/office/drawing/2014/main" id="{5C083336-DB9B-7C70-177B-9267C74A4EA1}"/>
                  </a:ext>
                </a:extLst>
              </p:cNvPr>
              <p:cNvSpPr/>
              <p:nvPr/>
            </p:nvSpPr>
            <p:spPr>
              <a:xfrm>
                <a:off x="6689262" y="9157223"/>
                <a:ext cx="1204716" cy="1230558"/>
              </a:xfrm>
              <a:prstGeom prst="can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b="1" dirty="0">
                    <a:latin typeface="Montserrat Black" panose="00000A00000000000000" pitchFamily="2" charset="0"/>
                  </a:rPr>
                  <a:t>VOLUME</a:t>
                </a:r>
              </a:p>
            </p:txBody>
          </p:sp>
          <p:sp>
            <p:nvSpPr>
              <p:cNvPr id="254" name="Cylinder 253">
                <a:extLst>
                  <a:ext uri="{FF2B5EF4-FFF2-40B4-BE49-F238E27FC236}">
                    <a16:creationId xmlns:a16="http://schemas.microsoft.com/office/drawing/2014/main" id="{12D7D353-8BB1-9B9E-5409-4204480DD731}"/>
                  </a:ext>
                </a:extLst>
              </p:cNvPr>
              <p:cNvSpPr/>
              <p:nvPr/>
            </p:nvSpPr>
            <p:spPr>
              <a:xfrm>
                <a:off x="7978388" y="9157223"/>
                <a:ext cx="1204716" cy="1230558"/>
              </a:xfrm>
              <a:prstGeom prst="can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b="1" dirty="0">
                    <a:latin typeface="Montserrat Black" panose="00000A00000000000000" pitchFamily="2" charset="0"/>
                  </a:rPr>
                  <a:t>VOLUME</a:t>
                </a:r>
              </a:p>
            </p:txBody>
          </p:sp>
          <p:sp>
            <p:nvSpPr>
              <p:cNvPr id="255" name="Cylinder 254">
                <a:extLst>
                  <a:ext uri="{FF2B5EF4-FFF2-40B4-BE49-F238E27FC236}">
                    <a16:creationId xmlns:a16="http://schemas.microsoft.com/office/drawing/2014/main" id="{C9FCF2DB-838F-52BA-6D95-05420E0E0FB7}"/>
                  </a:ext>
                </a:extLst>
              </p:cNvPr>
              <p:cNvSpPr/>
              <p:nvPr/>
            </p:nvSpPr>
            <p:spPr>
              <a:xfrm>
                <a:off x="9267514" y="9157223"/>
                <a:ext cx="1204716" cy="1230558"/>
              </a:xfrm>
              <a:prstGeom prst="can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b="1" dirty="0">
                    <a:latin typeface="Montserrat Black" panose="00000A00000000000000" pitchFamily="2" charset="0"/>
                  </a:rPr>
                  <a:t>VOLUME</a:t>
                </a:r>
              </a:p>
            </p:txBody>
          </p:sp>
          <p:sp>
            <p:nvSpPr>
              <p:cNvPr id="256" name="Cylinder 255">
                <a:extLst>
                  <a:ext uri="{FF2B5EF4-FFF2-40B4-BE49-F238E27FC236}">
                    <a16:creationId xmlns:a16="http://schemas.microsoft.com/office/drawing/2014/main" id="{16EA8EA5-054A-A8F5-61A6-A5DD4A3EC6A6}"/>
                  </a:ext>
                </a:extLst>
              </p:cNvPr>
              <p:cNvSpPr/>
              <p:nvPr/>
            </p:nvSpPr>
            <p:spPr>
              <a:xfrm>
                <a:off x="10556640" y="9157223"/>
                <a:ext cx="1204716" cy="1230558"/>
              </a:xfrm>
              <a:prstGeom prst="can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b="1" dirty="0">
                    <a:latin typeface="Montserrat Black" panose="00000A00000000000000" pitchFamily="2" charset="0"/>
                  </a:rPr>
                  <a:t>VOLUME</a:t>
                </a:r>
              </a:p>
            </p:txBody>
          </p:sp>
          <p:sp>
            <p:nvSpPr>
              <p:cNvPr id="257" name="Cylinder 256">
                <a:extLst>
                  <a:ext uri="{FF2B5EF4-FFF2-40B4-BE49-F238E27FC236}">
                    <a16:creationId xmlns:a16="http://schemas.microsoft.com/office/drawing/2014/main" id="{EA2238B7-168C-BF99-7C74-DDC9FD043334}"/>
                  </a:ext>
                </a:extLst>
              </p:cNvPr>
              <p:cNvSpPr/>
              <p:nvPr/>
            </p:nvSpPr>
            <p:spPr>
              <a:xfrm>
                <a:off x="11845768" y="9157223"/>
                <a:ext cx="1204716" cy="1230558"/>
              </a:xfrm>
              <a:prstGeom prst="can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b="1" dirty="0">
                    <a:latin typeface="Montserrat Black" panose="00000A00000000000000" pitchFamily="2" charset="0"/>
                  </a:rPr>
                  <a:t>VOLUME</a:t>
                </a:r>
              </a:p>
            </p:txBody>
          </p:sp>
        </p:grpSp>
        <p:grpSp>
          <p:nvGrpSpPr>
            <p:cNvPr id="245" name="Group 244">
              <a:extLst>
                <a:ext uri="{FF2B5EF4-FFF2-40B4-BE49-F238E27FC236}">
                  <a16:creationId xmlns:a16="http://schemas.microsoft.com/office/drawing/2014/main" id="{54F7149D-1B64-4441-B209-A9080494813D}"/>
                </a:ext>
              </a:extLst>
            </p:cNvPr>
            <p:cNvGrpSpPr/>
            <p:nvPr/>
          </p:nvGrpSpPr>
          <p:grpSpPr>
            <a:xfrm>
              <a:off x="4796690" y="11232835"/>
              <a:ext cx="7650348" cy="1230558"/>
              <a:chOff x="5400136" y="9157223"/>
              <a:chExt cx="7650348" cy="1230558"/>
            </a:xfrm>
          </p:grpSpPr>
          <p:sp>
            <p:nvSpPr>
              <p:cNvPr id="246" name="Cylinder 245">
                <a:extLst>
                  <a:ext uri="{FF2B5EF4-FFF2-40B4-BE49-F238E27FC236}">
                    <a16:creationId xmlns:a16="http://schemas.microsoft.com/office/drawing/2014/main" id="{059CC08C-2359-654C-0D06-E22C76ACDCC5}"/>
                  </a:ext>
                </a:extLst>
              </p:cNvPr>
              <p:cNvSpPr/>
              <p:nvPr/>
            </p:nvSpPr>
            <p:spPr>
              <a:xfrm>
                <a:off x="5400136" y="9157223"/>
                <a:ext cx="1204716" cy="1230558"/>
              </a:xfrm>
              <a:prstGeom prst="can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b="1" dirty="0">
                    <a:latin typeface="Montserrat Black" panose="00000A00000000000000" pitchFamily="2" charset="0"/>
                  </a:rPr>
                  <a:t>VOLUME</a:t>
                </a:r>
              </a:p>
            </p:txBody>
          </p:sp>
          <p:sp>
            <p:nvSpPr>
              <p:cNvPr id="247" name="Cylinder 246">
                <a:extLst>
                  <a:ext uri="{FF2B5EF4-FFF2-40B4-BE49-F238E27FC236}">
                    <a16:creationId xmlns:a16="http://schemas.microsoft.com/office/drawing/2014/main" id="{64B592E0-946B-74FB-0E3D-EB149E14A053}"/>
                  </a:ext>
                </a:extLst>
              </p:cNvPr>
              <p:cNvSpPr/>
              <p:nvPr/>
            </p:nvSpPr>
            <p:spPr>
              <a:xfrm>
                <a:off x="6689262" y="9157223"/>
                <a:ext cx="1204716" cy="1230558"/>
              </a:xfrm>
              <a:prstGeom prst="can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b="1" dirty="0">
                    <a:latin typeface="Montserrat Black" panose="00000A00000000000000" pitchFamily="2" charset="0"/>
                  </a:rPr>
                  <a:t>VOLUME</a:t>
                </a:r>
              </a:p>
            </p:txBody>
          </p:sp>
          <p:sp>
            <p:nvSpPr>
              <p:cNvPr id="248" name="Cylinder 247">
                <a:extLst>
                  <a:ext uri="{FF2B5EF4-FFF2-40B4-BE49-F238E27FC236}">
                    <a16:creationId xmlns:a16="http://schemas.microsoft.com/office/drawing/2014/main" id="{4B9272DC-5376-F288-A06C-272FC14B2F8B}"/>
                  </a:ext>
                </a:extLst>
              </p:cNvPr>
              <p:cNvSpPr/>
              <p:nvPr/>
            </p:nvSpPr>
            <p:spPr>
              <a:xfrm>
                <a:off x="7978388" y="9157223"/>
                <a:ext cx="1204716" cy="1230558"/>
              </a:xfrm>
              <a:prstGeom prst="can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b="1" dirty="0">
                    <a:latin typeface="Montserrat Black" panose="00000A00000000000000" pitchFamily="2" charset="0"/>
                  </a:rPr>
                  <a:t>VOLUME</a:t>
                </a:r>
              </a:p>
            </p:txBody>
          </p:sp>
          <p:sp>
            <p:nvSpPr>
              <p:cNvPr id="249" name="Cylinder 248">
                <a:extLst>
                  <a:ext uri="{FF2B5EF4-FFF2-40B4-BE49-F238E27FC236}">
                    <a16:creationId xmlns:a16="http://schemas.microsoft.com/office/drawing/2014/main" id="{D1E99964-4E36-45B6-F268-086C9F0C29E1}"/>
                  </a:ext>
                </a:extLst>
              </p:cNvPr>
              <p:cNvSpPr/>
              <p:nvPr/>
            </p:nvSpPr>
            <p:spPr>
              <a:xfrm>
                <a:off x="9267514" y="9157223"/>
                <a:ext cx="1204716" cy="1230558"/>
              </a:xfrm>
              <a:prstGeom prst="can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b="1" dirty="0">
                    <a:latin typeface="Montserrat Black" panose="00000A00000000000000" pitchFamily="2" charset="0"/>
                  </a:rPr>
                  <a:t>VOLUME</a:t>
                </a:r>
              </a:p>
            </p:txBody>
          </p:sp>
          <p:sp>
            <p:nvSpPr>
              <p:cNvPr id="250" name="Cylinder 249">
                <a:extLst>
                  <a:ext uri="{FF2B5EF4-FFF2-40B4-BE49-F238E27FC236}">
                    <a16:creationId xmlns:a16="http://schemas.microsoft.com/office/drawing/2014/main" id="{74B10DD2-395E-EC3A-C85D-5718C5498A63}"/>
                  </a:ext>
                </a:extLst>
              </p:cNvPr>
              <p:cNvSpPr/>
              <p:nvPr/>
            </p:nvSpPr>
            <p:spPr>
              <a:xfrm>
                <a:off x="10556640" y="9157223"/>
                <a:ext cx="1204716" cy="1230558"/>
              </a:xfrm>
              <a:prstGeom prst="can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b="1" dirty="0">
                    <a:latin typeface="Montserrat Black" panose="00000A00000000000000" pitchFamily="2" charset="0"/>
                  </a:rPr>
                  <a:t>VOLUME</a:t>
                </a:r>
              </a:p>
            </p:txBody>
          </p:sp>
          <p:sp>
            <p:nvSpPr>
              <p:cNvPr id="251" name="Cylinder 250">
                <a:extLst>
                  <a:ext uri="{FF2B5EF4-FFF2-40B4-BE49-F238E27FC236}">
                    <a16:creationId xmlns:a16="http://schemas.microsoft.com/office/drawing/2014/main" id="{F2E4A295-E9DD-E9CB-FC10-0777024B5155}"/>
                  </a:ext>
                </a:extLst>
              </p:cNvPr>
              <p:cNvSpPr/>
              <p:nvPr/>
            </p:nvSpPr>
            <p:spPr>
              <a:xfrm>
                <a:off x="11845768" y="9157223"/>
                <a:ext cx="1204716" cy="1230558"/>
              </a:xfrm>
              <a:prstGeom prst="can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900" b="1" dirty="0">
                    <a:latin typeface="Montserrat Black" panose="00000A00000000000000" pitchFamily="2" charset="0"/>
                  </a:rPr>
                  <a:t>VOLUME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95301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22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500"/>
                                        <p:tgtEl>
                                          <p:spTgt spid="22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" dur="500"/>
                                        <p:tgtEl>
                                          <p:spTgt spid="23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2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2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2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8" grpId="0" animBg="1"/>
      <p:bldP spid="150" grpId="0" animBg="1"/>
      <p:bldP spid="225" grpId="0" animBg="1"/>
      <p:bldP spid="226" grpId="0" animBg="1"/>
      <p:bldP spid="228" grpId="0" animBg="1"/>
      <p:bldP spid="229" grpId="0" animBg="1"/>
      <p:bldP spid="231" grpId="0"/>
      <p:bldP spid="233" grpId="0" animBg="1"/>
      <p:bldP spid="234" grpId="0" animBg="1"/>
      <p:bldP spid="239" grpId="0"/>
      <p:bldP spid="240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577849AB-35EB-9D2C-EA74-7E0C185AA55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7532" y="2308086"/>
            <a:ext cx="17841096" cy="9689359"/>
          </a:xfrm>
          <a:prstGeom prst="rect">
            <a:avLst/>
          </a:prstGeom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E1AA9D20-89A6-DFC7-8D93-C80839D284A2}"/>
              </a:ext>
            </a:extLst>
          </p:cNvPr>
          <p:cNvSpPr txBox="1">
            <a:spLocks/>
          </p:cNvSpPr>
          <p:nvPr/>
        </p:nvSpPr>
        <p:spPr>
          <a:xfrm>
            <a:off x="1828804" y="567779"/>
            <a:ext cx="20726400" cy="1133518"/>
          </a:xfrm>
          <a:prstGeom prst="rect">
            <a:avLst/>
          </a:prstGeom>
        </p:spPr>
        <p:txBody>
          <a:bodyPr/>
          <a:lstStyle>
            <a:lvl1pPr algn="ctr" defTabSz="543505" rtl="0" eaLnBrk="1" latinLnBrk="0" hangingPunct="1">
              <a:spcBef>
                <a:spcPct val="0"/>
              </a:spcBef>
              <a:buNone/>
              <a:defRPr sz="4000" kern="1200">
                <a:solidFill>
                  <a:schemeClr val="bg2"/>
                </a:solidFill>
                <a:latin typeface="+mj-lt"/>
                <a:ea typeface="+mj-ea"/>
                <a:cs typeface="Open Sans"/>
              </a:defRPr>
            </a:lvl1pPr>
          </a:lstStyle>
          <a:p>
            <a:pPr defTabSz="1087010"/>
            <a:r>
              <a:rPr lang="en-US" sz="6600" b="1" dirty="0">
                <a:solidFill>
                  <a:srgbClr val="6EBE49"/>
                </a:solidFill>
                <a:latin typeface="Arial" panose="020B0604020202020204"/>
              </a:rPr>
              <a:t>Seagate Integrated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D86D4CE-9A18-BD83-8A72-05F826981D96}"/>
              </a:ext>
            </a:extLst>
          </p:cNvPr>
          <p:cNvGrpSpPr/>
          <p:nvPr/>
        </p:nvGrpSpPr>
        <p:grpSpPr>
          <a:xfrm>
            <a:off x="16702923" y="12493172"/>
            <a:ext cx="6625077" cy="1069910"/>
            <a:chOff x="16702923" y="12493172"/>
            <a:chExt cx="6625077" cy="1069910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26AA25D4-A128-4133-EF12-A433AE97A23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6702923" y="12493172"/>
              <a:ext cx="3864456" cy="1069910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047AEBE4-F8E6-3F77-F224-1AF7EAFED4D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1104152" y="12826874"/>
              <a:ext cx="2223848" cy="39283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08944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54">
            <a:extLst>
              <a:ext uri="{FF2B5EF4-FFF2-40B4-BE49-F238E27FC236}">
                <a16:creationId xmlns:a16="http://schemas.microsoft.com/office/drawing/2014/main" id="{A806858D-858B-2AE4-A995-54B2EF7E556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828800" y="568325"/>
            <a:ext cx="20726400" cy="1133475"/>
          </a:xfrm>
        </p:spPr>
        <p:txBody>
          <a:bodyPr/>
          <a:lstStyle/>
          <a:p>
            <a:pPr defTabSz="1087010"/>
            <a:r>
              <a:rPr lang="en-US" sz="6600" b="1" dirty="0">
                <a:solidFill>
                  <a:srgbClr val="6EBE49"/>
                </a:solidFill>
                <a:latin typeface="Arial" panose="020B0604020202020204"/>
              </a:rPr>
              <a:t>Seagate Integrated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89CA5BE-655A-F785-723C-E4BE30F1DA16}"/>
              </a:ext>
            </a:extLst>
          </p:cNvPr>
          <p:cNvSpPr/>
          <p:nvPr/>
        </p:nvSpPr>
        <p:spPr>
          <a:xfrm>
            <a:off x="10249335" y="2370583"/>
            <a:ext cx="4412343" cy="856343"/>
          </a:xfrm>
          <a:prstGeom prst="rect">
            <a:avLst/>
          </a:pr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Open Sans Light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AD82D768-B77F-917B-8110-B780BBFBC8E0}"/>
              </a:ext>
            </a:extLst>
          </p:cNvPr>
          <p:cNvGrpSpPr/>
          <p:nvPr/>
        </p:nvGrpSpPr>
        <p:grpSpPr>
          <a:xfrm>
            <a:off x="1818929" y="1932965"/>
            <a:ext cx="21273154" cy="11017816"/>
            <a:chOff x="1287523" y="1988293"/>
            <a:chExt cx="21273154" cy="11017816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C12C12A6-5763-26EA-B9D2-E57783D5809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87523" y="1988293"/>
              <a:ext cx="21273154" cy="11017816"/>
            </a:xfrm>
            <a:prstGeom prst="rect">
              <a:avLst/>
            </a:prstGeom>
          </p:spPr>
        </p:pic>
        <p:sp>
          <p:nvSpPr>
            <p:cNvPr id="19" name="Arrow: Right 18">
              <a:extLst>
                <a:ext uri="{FF2B5EF4-FFF2-40B4-BE49-F238E27FC236}">
                  <a16:creationId xmlns:a16="http://schemas.microsoft.com/office/drawing/2014/main" id="{68091F00-3629-649C-C820-BB9B91346438}"/>
                </a:ext>
              </a:extLst>
            </p:cNvPr>
            <p:cNvSpPr/>
            <p:nvPr/>
          </p:nvSpPr>
          <p:spPr>
            <a:xfrm>
              <a:off x="14554200" y="2879754"/>
              <a:ext cx="1143000" cy="739701"/>
            </a:xfrm>
            <a:prstGeom prst="rightArrow">
              <a:avLst/>
            </a:prstGeom>
            <a:solidFill>
              <a:schemeClr val="accent2"/>
            </a:solidFill>
            <a:ln w="19050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Open Sans Light"/>
              </a:endParaRPr>
            </a:p>
          </p:txBody>
        </p:sp>
        <p:sp>
          <p:nvSpPr>
            <p:cNvPr id="20" name="Arrow: Right 19">
              <a:extLst>
                <a:ext uri="{FF2B5EF4-FFF2-40B4-BE49-F238E27FC236}">
                  <a16:creationId xmlns:a16="http://schemas.microsoft.com/office/drawing/2014/main" id="{737E014A-E37C-7399-0DE2-3ADD2FB10AAD}"/>
                </a:ext>
              </a:extLst>
            </p:cNvPr>
            <p:cNvSpPr/>
            <p:nvPr/>
          </p:nvSpPr>
          <p:spPr>
            <a:xfrm>
              <a:off x="6261100" y="8855461"/>
              <a:ext cx="1143000" cy="739701"/>
            </a:xfrm>
            <a:prstGeom prst="rightArrow">
              <a:avLst/>
            </a:prstGeom>
            <a:solidFill>
              <a:schemeClr val="accent2"/>
            </a:solidFill>
            <a:ln w="19050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Open Sans Light"/>
              </a:endParaRPr>
            </a:p>
          </p:txBody>
        </p:sp>
      </p:grpSp>
      <p:pic>
        <p:nvPicPr>
          <p:cNvPr id="10" name="Picture 9">
            <a:extLst>
              <a:ext uri="{FF2B5EF4-FFF2-40B4-BE49-F238E27FC236}">
                <a16:creationId xmlns:a16="http://schemas.microsoft.com/office/drawing/2014/main" id="{F0B3B147-6675-6A13-B4B0-2DC56007DEC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8929" y="1932965"/>
            <a:ext cx="21254542" cy="11017816"/>
          </a:xfrm>
          <a:prstGeom prst="rect">
            <a:avLst/>
          </a:prstGeom>
        </p:spPr>
      </p:pic>
      <p:grpSp>
        <p:nvGrpSpPr>
          <p:cNvPr id="24" name="Group 23">
            <a:extLst>
              <a:ext uri="{FF2B5EF4-FFF2-40B4-BE49-F238E27FC236}">
                <a16:creationId xmlns:a16="http://schemas.microsoft.com/office/drawing/2014/main" id="{18CADCC2-9717-2329-B1EC-3BC098D2EB85}"/>
              </a:ext>
            </a:extLst>
          </p:cNvPr>
          <p:cNvGrpSpPr/>
          <p:nvPr/>
        </p:nvGrpSpPr>
        <p:grpSpPr>
          <a:xfrm>
            <a:off x="1800317" y="1932965"/>
            <a:ext cx="21254542" cy="10957587"/>
            <a:chOff x="4270029" y="4004087"/>
            <a:chExt cx="21254542" cy="10957587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5ADB9C7F-5867-B97A-9AD3-300C0E77B1F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70029" y="4004087"/>
              <a:ext cx="21254542" cy="10957587"/>
            </a:xfrm>
            <a:prstGeom prst="rect">
              <a:avLst/>
            </a:prstGeom>
          </p:spPr>
        </p:pic>
        <p:sp>
          <p:nvSpPr>
            <p:cNvPr id="22" name="Arrow: Right 21">
              <a:extLst>
                <a:ext uri="{FF2B5EF4-FFF2-40B4-BE49-F238E27FC236}">
                  <a16:creationId xmlns:a16="http://schemas.microsoft.com/office/drawing/2014/main" id="{6342FDA6-CEF6-EDE2-7652-3C28F07F82CC}"/>
                </a:ext>
              </a:extLst>
            </p:cNvPr>
            <p:cNvSpPr/>
            <p:nvPr/>
          </p:nvSpPr>
          <p:spPr>
            <a:xfrm>
              <a:off x="6221006" y="8069526"/>
              <a:ext cx="1143000" cy="739701"/>
            </a:xfrm>
            <a:prstGeom prst="rightArrow">
              <a:avLst/>
            </a:prstGeom>
            <a:solidFill>
              <a:schemeClr val="accent2"/>
            </a:solidFill>
            <a:ln w="19050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Open Sans Light"/>
              </a:endParaRPr>
            </a:p>
          </p:txBody>
        </p:sp>
        <p:sp>
          <p:nvSpPr>
            <p:cNvPr id="23" name="Arrow: Right 22">
              <a:extLst>
                <a:ext uri="{FF2B5EF4-FFF2-40B4-BE49-F238E27FC236}">
                  <a16:creationId xmlns:a16="http://schemas.microsoft.com/office/drawing/2014/main" id="{0BB02D4F-5C9B-A2FD-A88B-174A1F96A35A}"/>
                </a:ext>
              </a:extLst>
            </p:cNvPr>
            <p:cNvSpPr/>
            <p:nvPr/>
          </p:nvSpPr>
          <p:spPr>
            <a:xfrm>
              <a:off x="15007412" y="10165026"/>
              <a:ext cx="1143000" cy="739701"/>
            </a:xfrm>
            <a:prstGeom prst="rightArrow">
              <a:avLst/>
            </a:prstGeom>
            <a:solidFill>
              <a:schemeClr val="accent2"/>
            </a:solidFill>
            <a:ln w="19050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Open Sans Light"/>
              </a:endParaRPr>
            </a:p>
          </p:txBody>
        </p:sp>
      </p:grpSp>
      <p:pic>
        <p:nvPicPr>
          <p:cNvPr id="18" name="Picture 17">
            <a:extLst>
              <a:ext uri="{FF2B5EF4-FFF2-40B4-BE49-F238E27FC236}">
                <a16:creationId xmlns:a16="http://schemas.microsoft.com/office/drawing/2014/main" id="{15A41E5C-AB2F-DE80-011C-169F4AA697B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800317" y="1913699"/>
            <a:ext cx="21254542" cy="109768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6568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F83A59-0E0F-810E-EF1A-D371093F4C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b="1" dirty="0"/>
              <a:t>Auto-Tiering to Seagate </a:t>
            </a:r>
            <a:r>
              <a:rPr lang="en-US" b="1" dirty="0" err="1"/>
              <a:t>Lyve</a:t>
            </a:r>
            <a:r>
              <a:rPr lang="en-US" b="1" dirty="0"/>
              <a:t> Cloud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4B34BC25-A03A-89E8-2005-A1D4E9625F8E}"/>
              </a:ext>
            </a:extLst>
          </p:cNvPr>
          <p:cNvGrpSpPr>
            <a:grpSpLocks/>
          </p:cNvGrpSpPr>
          <p:nvPr/>
        </p:nvGrpSpPr>
        <p:grpSpPr>
          <a:xfrm>
            <a:off x="19437290" y="5919118"/>
            <a:ext cx="3871748" cy="2387663"/>
            <a:chOff x="7202486" y="4939926"/>
            <a:chExt cx="973139" cy="563563"/>
          </a:xfrm>
        </p:grpSpPr>
        <p:pic>
          <p:nvPicPr>
            <p:cNvPr id="14" name="Graphic 66">
              <a:extLst>
                <a:ext uri="{FF2B5EF4-FFF2-40B4-BE49-F238E27FC236}">
                  <a16:creationId xmlns:a16="http://schemas.microsoft.com/office/drawing/2014/main" id="{CC77E3DB-C11D-319D-14FE-D08EC2F07A9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7202486" y="4939926"/>
              <a:ext cx="973139" cy="563563"/>
            </a:xfrm>
            <a:prstGeom prst="rect">
              <a:avLst/>
            </a:prstGeom>
          </p:spPr>
        </p:pic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4FF69F33-19F2-5E25-9AD1-43EEFEC71C3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392304" y="5100583"/>
              <a:ext cx="593504" cy="332179"/>
            </a:xfrm>
            <a:prstGeom prst="rect">
              <a:avLst/>
            </a:prstGeom>
          </p:spPr>
        </p:pic>
      </p:grpSp>
      <p:sp>
        <p:nvSpPr>
          <p:cNvPr id="47" name="Arrow: Right 46">
            <a:extLst>
              <a:ext uri="{FF2B5EF4-FFF2-40B4-BE49-F238E27FC236}">
                <a16:creationId xmlns:a16="http://schemas.microsoft.com/office/drawing/2014/main" id="{E6E419CB-E211-4A33-C3A0-35AB446DD97F}"/>
              </a:ext>
            </a:extLst>
          </p:cNvPr>
          <p:cNvSpPr/>
          <p:nvPr/>
        </p:nvSpPr>
        <p:spPr>
          <a:xfrm>
            <a:off x="16767656" y="6635383"/>
            <a:ext cx="2111356" cy="1500842"/>
          </a:xfrm>
          <a:prstGeom prst="rightArrow">
            <a:avLst/>
          </a:prstGeom>
          <a:solidFill>
            <a:schemeClr val="bg2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800"/>
            <a:r>
              <a:rPr lang="en-US" sz="2200" b="1" dirty="0">
                <a:solidFill>
                  <a:srgbClr val="FFFFFF"/>
                </a:solidFill>
                <a:latin typeface="Arial" panose="020B0604020202020204"/>
              </a:rPr>
              <a:t>Auto Tiering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34FD37B-40F8-FA10-56BB-4D0FF1E082B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89030" y="8136225"/>
            <a:ext cx="2518924" cy="113351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9B31115-D5CE-3342-FCA9-82C5AF110F8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482606" y="7182290"/>
            <a:ext cx="2518924" cy="112512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2A65550-649A-275E-3AE8-4320AA0308E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3469764" y="5869815"/>
            <a:ext cx="2534076" cy="456134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20A6E029-8AA2-B8FD-E2A9-02952483B8A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69764" y="5483081"/>
            <a:ext cx="2534068" cy="456134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FAE703B6-A4DC-9C3D-75E8-7835C974D68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3482606" y="6256549"/>
            <a:ext cx="2534076" cy="456134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7E901DDD-4CEB-43BB-8817-9EDEBD8D34C3}"/>
              </a:ext>
            </a:extLst>
          </p:cNvPr>
          <p:cNvSpPr txBox="1"/>
          <p:nvPr/>
        </p:nvSpPr>
        <p:spPr>
          <a:xfrm>
            <a:off x="1074962" y="4817672"/>
            <a:ext cx="12192000" cy="563231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828800"/>
            <a:r>
              <a:rPr lang="en-US" sz="3600" b="1" dirty="0">
                <a:solidFill>
                  <a:srgbClr val="FFFFFF"/>
                </a:solidFill>
                <a:latin typeface="Arial" panose="020B0604020202020204"/>
                <a:ea typeface="Source Sans Pro" panose="020B0503030403020204" pitchFamily="34" charset="0"/>
              </a:rPr>
              <a:t>NAS to Cloud Storage Gateway</a:t>
            </a:r>
          </a:p>
          <a:p>
            <a:pPr marL="571500" indent="-571500" defTabSz="1828800"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rgbClr val="FFFFFF"/>
                </a:solidFill>
                <a:latin typeface="Arial" panose="020B0604020202020204"/>
                <a:ea typeface="Source Sans Pro" panose="020B0503030403020204" pitchFamily="34" charset="0"/>
              </a:rPr>
              <a:t>Access cloud object storage via NFS &amp; SMB</a:t>
            </a:r>
          </a:p>
          <a:p>
            <a:pPr marL="571500" indent="-571500" defTabSz="1828800">
              <a:buFont typeface="Arial" panose="020B0604020202020204" pitchFamily="34" charset="0"/>
              <a:buChar char="•"/>
            </a:pPr>
            <a:endParaRPr lang="en-US" sz="3600" dirty="0">
              <a:solidFill>
                <a:srgbClr val="FFFFFF"/>
              </a:solidFill>
              <a:latin typeface="Arial" panose="020B0604020202020204"/>
              <a:ea typeface="Source Sans Pro" panose="020B0503030403020204" pitchFamily="34" charset="0"/>
            </a:endParaRPr>
          </a:p>
          <a:p>
            <a:pPr defTabSz="1828800"/>
            <a:r>
              <a:rPr lang="en-US" sz="3600" b="1" dirty="0">
                <a:solidFill>
                  <a:srgbClr val="FFFFFF"/>
                </a:solidFill>
                <a:latin typeface="Arial" panose="020B0604020202020204"/>
                <a:ea typeface="Source Sans Pro" panose="020B0503030403020204" pitchFamily="34" charset="0"/>
              </a:rPr>
              <a:t>NAS to Cloud Storage Tiering</a:t>
            </a:r>
          </a:p>
          <a:p>
            <a:pPr marL="571500" indent="-571500" defTabSz="1828800"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rgbClr val="FFFFFF"/>
                </a:solidFill>
                <a:latin typeface="Arial" panose="020B0604020202020204"/>
                <a:ea typeface="Source Sans Pro" panose="020B0503030403020204" pitchFamily="34" charset="0"/>
              </a:rPr>
              <a:t>Auto-copy and tiering of files to the cloud</a:t>
            </a:r>
          </a:p>
          <a:p>
            <a:pPr marL="571500" indent="-571500" defTabSz="1828800">
              <a:buFont typeface="Arial" panose="020B0604020202020204" pitchFamily="34" charset="0"/>
              <a:buChar char="•"/>
            </a:pPr>
            <a:endParaRPr lang="en-US" sz="3600" dirty="0">
              <a:solidFill>
                <a:srgbClr val="FFFFFF"/>
              </a:solidFill>
              <a:latin typeface="Arial" panose="020B0604020202020204"/>
              <a:ea typeface="Source Sans Pro" panose="020B0503030403020204" pitchFamily="34" charset="0"/>
            </a:endParaRPr>
          </a:p>
          <a:p>
            <a:pPr defTabSz="1828800"/>
            <a:r>
              <a:rPr lang="en-US" sz="3600" b="1" dirty="0">
                <a:solidFill>
                  <a:srgbClr val="FFFFFF"/>
                </a:solidFill>
                <a:latin typeface="Arial" panose="020B0604020202020204"/>
                <a:ea typeface="Source Sans Pro" panose="020B0503030403020204" pitchFamily="34" charset="0"/>
              </a:rPr>
              <a:t>NAS to Cloud Backup Policies</a:t>
            </a:r>
          </a:p>
          <a:p>
            <a:pPr marL="571500" indent="-571500" defTabSz="1828800"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rgbClr val="FFFFFF"/>
                </a:solidFill>
                <a:latin typeface="Arial" panose="020B0604020202020204"/>
                <a:ea typeface="Source Sans Pro" panose="020B0503030403020204" pitchFamily="34" charset="0"/>
              </a:rPr>
              <a:t>Setup auto copy and move schedules for easy backup and migration to/from cloud and 3</a:t>
            </a:r>
            <a:r>
              <a:rPr lang="en-US" sz="3600" baseline="30000" dirty="0">
                <a:solidFill>
                  <a:srgbClr val="FFFFFF"/>
                </a:solidFill>
                <a:latin typeface="Arial" panose="020B0604020202020204"/>
                <a:ea typeface="Source Sans Pro" panose="020B0503030403020204" pitchFamily="34" charset="0"/>
              </a:rPr>
              <a:t>rd</a:t>
            </a:r>
            <a:r>
              <a:rPr lang="en-US" sz="3600" dirty="0">
                <a:solidFill>
                  <a:srgbClr val="FFFFFF"/>
                </a:solidFill>
                <a:latin typeface="Arial" panose="020B0604020202020204"/>
                <a:ea typeface="Source Sans Pro" panose="020B0503030403020204" pitchFamily="34" charset="0"/>
              </a:rPr>
              <a:t> party NAS</a:t>
            </a:r>
            <a:endParaRPr lang="en-US" sz="3600" dirty="0">
              <a:solidFill>
                <a:srgbClr val="000000"/>
              </a:solidFill>
              <a:latin typeface="Arial" panose="020B0604020202020204"/>
            </a:endParaRPr>
          </a:p>
          <a:p>
            <a:pPr marL="571500" indent="-571500" defTabSz="1828800">
              <a:buFont typeface="Arial" panose="020B0604020202020204" pitchFamily="34" charset="0"/>
              <a:buChar char="•"/>
            </a:pPr>
            <a:endParaRPr lang="en-US" sz="3600" dirty="0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30" name="Arrow: Right 29">
            <a:extLst>
              <a:ext uri="{FF2B5EF4-FFF2-40B4-BE49-F238E27FC236}">
                <a16:creationId xmlns:a16="http://schemas.microsoft.com/office/drawing/2014/main" id="{9A9EAE7D-2D72-522F-3D7A-B86C36FB5A25}"/>
              </a:ext>
            </a:extLst>
          </p:cNvPr>
          <p:cNvSpPr/>
          <p:nvPr/>
        </p:nvSpPr>
        <p:spPr>
          <a:xfrm>
            <a:off x="16767656" y="8306781"/>
            <a:ext cx="2111356" cy="1500842"/>
          </a:xfrm>
          <a:prstGeom prst="rightArrow">
            <a:avLst/>
          </a:prstGeom>
          <a:solidFill>
            <a:schemeClr val="bg2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800"/>
            <a:r>
              <a:rPr lang="en-US" sz="2200" b="1" dirty="0">
                <a:solidFill>
                  <a:srgbClr val="FFFFFF"/>
                </a:solidFill>
                <a:latin typeface="Arial" panose="020B0604020202020204"/>
              </a:rPr>
              <a:t>File Gateway</a:t>
            </a:r>
          </a:p>
        </p:txBody>
      </p:sp>
      <p:sp>
        <p:nvSpPr>
          <p:cNvPr id="45" name="Arrow: Right 44">
            <a:extLst>
              <a:ext uri="{FF2B5EF4-FFF2-40B4-BE49-F238E27FC236}">
                <a16:creationId xmlns:a16="http://schemas.microsoft.com/office/drawing/2014/main" id="{6B1BFA06-1051-46D7-AE0D-D331AB851750}"/>
              </a:ext>
            </a:extLst>
          </p:cNvPr>
          <p:cNvSpPr/>
          <p:nvPr/>
        </p:nvSpPr>
        <p:spPr>
          <a:xfrm>
            <a:off x="16747010" y="4985435"/>
            <a:ext cx="2111356" cy="1500842"/>
          </a:xfrm>
          <a:prstGeom prst="rightArrow">
            <a:avLst/>
          </a:prstGeom>
          <a:solidFill>
            <a:schemeClr val="bg2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800"/>
            <a:r>
              <a:rPr lang="en-US" sz="2200" b="1" dirty="0">
                <a:solidFill>
                  <a:srgbClr val="FFFFFF"/>
                </a:solidFill>
                <a:latin typeface="Arial" panose="020B0604020202020204"/>
              </a:rPr>
              <a:t>Backup Policies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EAE6890A-2580-B6C2-5805-09F8AB9E1A01}"/>
              </a:ext>
            </a:extLst>
          </p:cNvPr>
          <p:cNvGrpSpPr/>
          <p:nvPr/>
        </p:nvGrpSpPr>
        <p:grpSpPr>
          <a:xfrm>
            <a:off x="16702923" y="12493172"/>
            <a:ext cx="6625077" cy="1069910"/>
            <a:chOff x="16702923" y="12493172"/>
            <a:chExt cx="6625077" cy="1069910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5B29BDD0-2E4C-211E-A254-86734DCA827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16702923" y="12493172"/>
              <a:ext cx="3864456" cy="1069910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F1EA77AD-D4AF-5643-FED1-43522A50B2F3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21104152" y="12826874"/>
              <a:ext cx="2223848" cy="39283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851728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W8_1HuTZa4QjqyCV2Guw"/>
</p:tagLst>
</file>

<file path=ppt/theme/theme1.xml><?xml version="1.0" encoding="utf-8"?>
<a:theme xmlns:a="http://schemas.openxmlformats.org/drawingml/2006/main" name="Internal Spreads">
  <a:themeElements>
    <a:clrScheme name="Seagate 2019">
      <a:dk1>
        <a:srgbClr val="000000"/>
      </a:dk1>
      <a:lt1>
        <a:srgbClr val="FFFFFF"/>
      </a:lt1>
      <a:dk2>
        <a:srgbClr val="D4D4D4"/>
      </a:dk2>
      <a:lt2>
        <a:srgbClr val="6EBE49"/>
      </a:lt2>
      <a:accent1>
        <a:srgbClr val="00A0DD"/>
      </a:accent1>
      <a:accent2>
        <a:srgbClr val="6EBE49"/>
      </a:accent2>
      <a:accent3>
        <a:srgbClr val="F7BD15"/>
      </a:accent3>
      <a:accent4>
        <a:srgbClr val="008E98"/>
      </a:accent4>
      <a:accent5>
        <a:srgbClr val="FF5000"/>
      </a:accent5>
      <a:accent6>
        <a:srgbClr val="C7C7C7"/>
      </a:accent6>
      <a:hlink>
        <a:srgbClr val="008E98"/>
      </a:hlink>
      <a:folHlink>
        <a:srgbClr val="6DBD4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  <a:effectLst/>
      </a:spPr>
      <a:bodyPr rtlCol="0" anchor="ctr"/>
      <a:lstStyle>
        <a:defPPr algn="ctr">
          <a:defRPr dirty="0">
            <a:latin typeface="Open Sans Light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/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8" id="{0B82EFEB-F44A-2945-8ED2-6B41C8269EE4}" vid="{D82BB68C-BF31-5341-BD78-E06E79D02748}"/>
    </a:ext>
  </a:extLst>
</a:theme>
</file>

<file path=ppt/theme/theme2.xml><?xml version="1.0" encoding="utf-8"?>
<a:theme xmlns:a="http://schemas.openxmlformats.org/drawingml/2006/main" name="1_Internal Spreads">
  <a:themeElements>
    <a:clrScheme name="Seagate 2019">
      <a:dk1>
        <a:srgbClr val="000000"/>
      </a:dk1>
      <a:lt1>
        <a:srgbClr val="FFFFFF"/>
      </a:lt1>
      <a:dk2>
        <a:srgbClr val="D4D4D4"/>
      </a:dk2>
      <a:lt2>
        <a:srgbClr val="6EBE49"/>
      </a:lt2>
      <a:accent1>
        <a:srgbClr val="00A0DD"/>
      </a:accent1>
      <a:accent2>
        <a:srgbClr val="6EBE49"/>
      </a:accent2>
      <a:accent3>
        <a:srgbClr val="F7BD15"/>
      </a:accent3>
      <a:accent4>
        <a:srgbClr val="008E98"/>
      </a:accent4>
      <a:accent5>
        <a:srgbClr val="FF5000"/>
      </a:accent5>
      <a:accent6>
        <a:srgbClr val="C7C7C7"/>
      </a:accent6>
      <a:hlink>
        <a:srgbClr val="008E98"/>
      </a:hlink>
      <a:folHlink>
        <a:srgbClr val="6DBD4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  <a:effectLst/>
      </a:spPr>
      <a:bodyPr rtlCol="0" anchor="ctr"/>
      <a:lstStyle>
        <a:defPPr algn="ctr">
          <a:defRPr dirty="0">
            <a:latin typeface="Open Sans Light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/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8" id="{0B82EFEB-F44A-2945-8ED2-6B41C8269EE4}" vid="{D82BB68C-BF31-5341-BD78-E06E79D02748}"/>
    </a:ext>
  </a:extLst>
</a:theme>
</file>

<file path=ppt/theme/theme3.xml><?xml version="1.0" encoding="utf-8"?>
<a:theme xmlns:a="http://schemas.openxmlformats.org/drawingml/2006/main" name="Internal Spreads">
  <a:themeElements>
    <a:clrScheme name="Custom 1">
      <a:dk1>
        <a:srgbClr val="000000"/>
      </a:dk1>
      <a:lt1>
        <a:srgbClr val="FFFFFF"/>
      </a:lt1>
      <a:dk2>
        <a:srgbClr val="D4D4D4"/>
      </a:dk2>
      <a:lt2>
        <a:srgbClr val="6EBE49"/>
      </a:lt2>
      <a:accent1>
        <a:srgbClr val="00A0DD"/>
      </a:accent1>
      <a:accent2>
        <a:srgbClr val="6EBE49"/>
      </a:accent2>
      <a:accent3>
        <a:srgbClr val="F7BD15"/>
      </a:accent3>
      <a:accent4>
        <a:srgbClr val="008E98"/>
      </a:accent4>
      <a:accent5>
        <a:srgbClr val="FF5000"/>
      </a:accent5>
      <a:accent6>
        <a:srgbClr val="585958"/>
      </a:accent6>
      <a:hlink>
        <a:srgbClr val="008E98"/>
      </a:hlink>
      <a:folHlink>
        <a:srgbClr val="6DBD4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  <a:effectLst/>
      </a:spPr>
      <a:bodyPr rtlCol="0" anchor="ctr"/>
      <a:lstStyle>
        <a:defPPr algn="ctr">
          <a:defRPr dirty="0">
            <a:latin typeface="Open Sans Light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/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6" id="{99340EC1-D018-F241-A1DD-48396BC6DDC3}" vid="{28ADEB87-9F15-8E41-A0E3-EDC92A33EB1E}"/>
    </a:ext>
  </a:extLst>
</a:theme>
</file>

<file path=ppt/theme/theme4.xml><?xml version="1.0" encoding="utf-8"?>
<a:theme xmlns:a="http://schemas.openxmlformats.org/drawingml/2006/main" name="Cover + Divider Slides">
  <a:themeElements>
    <a:clrScheme name="Custom 1">
      <a:dk1>
        <a:srgbClr val="000000"/>
      </a:dk1>
      <a:lt1>
        <a:srgbClr val="FFFFFF"/>
      </a:lt1>
      <a:dk2>
        <a:srgbClr val="D4D4D4"/>
      </a:dk2>
      <a:lt2>
        <a:srgbClr val="6EBE49"/>
      </a:lt2>
      <a:accent1>
        <a:srgbClr val="00A0DD"/>
      </a:accent1>
      <a:accent2>
        <a:srgbClr val="6EBE49"/>
      </a:accent2>
      <a:accent3>
        <a:srgbClr val="F7BD15"/>
      </a:accent3>
      <a:accent4>
        <a:srgbClr val="008E98"/>
      </a:accent4>
      <a:accent5>
        <a:srgbClr val="FF5000"/>
      </a:accent5>
      <a:accent6>
        <a:srgbClr val="585958"/>
      </a:accent6>
      <a:hlink>
        <a:srgbClr val="008E98"/>
      </a:hlink>
      <a:folHlink>
        <a:srgbClr val="6DBD4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  <a:effectLst/>
      </a:spPr>
      <a:bodyPr rtlCol="0" anchor="ctr"/>
      <a:lstStyle>
        <a:defPPr algn="ctr">
          <a:defRPr dirty="0">
            <a:latin typeface="Open Sans Light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/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6" id="{99340EC1-D018-F241-A1DD-48396BC6DDC3}" vid="{28ADEB87-9F15-8E41-A0E3-EDC92A33EB1E}"/>
    </a:ext>
  </a:extLst>
</a:theme>
</file>

<file path=ppt/theme/theme5.xml><?xml version="1.0" encoding="utf-8"?>
<a:theme xmlns:a="http://schemas.openxmlformats.org/drawingml/2006/main" name="2_Internal Spreads">
  <a:themeElements>
    <a:clrScheme name="Seagate 2019">
      <a:dk1>
        <a:srgbClr val="000000"/>
      </a:dk1>
      <a:lt1>
        <a:srgbClr val="FFFFFF"/>
      </a:lt1>
      <a:dk2>
        <a:srgbClr val="D4D4D4"/>
      </a:dk2>
      <a:lt2>
        <a:srgbClr val="6EBE49"/>
      </a:lt2>
      <a:accent1>
        <a:srgbClr val="00A0DD"/>
      </a:accent1>
      <a:accent2>
        <a:srgbClr val="6EBE49"/>
      </a:accent2>
      <a:accent3>
        <a:srgbClr val="F7BD15"/>
      </a:accent3>
      <a:accent4>
        <a:srgbClr val="008E98"/>
      </a:accent4>
      <a:accent5>
        <a:srgbClr val="FF5000"/>
      </a:accent5>
      <a:accent6>
        <a:srgbClr val="C7C7C7"/>
      </a:accent6>
      <a:hlink>
        <a:srgbClr val="008E98"/>
      </a:hlink>
      <a:folHlink>
        <a:srgbClr val="6DBD4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  <a:effectLst/>
      </a:spPr>
      <a:bodyPr rtlCol="0" anchor="ctr"/>
      <a:lstStyle>
        <a:defPPr algn="ctr">
          <a:defRPr dirty="0">
            <a:latin typeface="Open Sans Light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/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6" id="{99340EC1-D018-F241-A1DD-48396BC6DDC3}" vid="{28ADEB87-9F15-8E41-A0E3-EDC92A33EB1E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56e366eb-86f1-4645-85a7-f29555b26fee}" enabled="1" method="Standard" siteId="{d466216a-c643-434a-9c2e-057448c17cbe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68964</TotalTime>
  <Words>1590</Words>
  <Application>Microsoft Office PowerPoint</Application>
  <PresentationFormat>Custom</PresentationFormat>
  <Paragraphs>336</Paragraphs>
  <Slides>24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16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46" baseType="lpstr">
      <vt:lpstr>Flaticon</vt:lpstr>
      <vt:lpstr>Helvetica Neue</vt:lpstr>
      <vt:lpstr>HelveticaNeueLT Std Ext</vt:lpstr>
      <vt:lpstr>Noto Sans Symbols</vt:lpstr>
      <vt:lpstr>Arial</vt:lpstr>
      <vt:lpstr>Calibri</vt:lpstr>
      <vt:lpstr>Comic Sans MS</vt:lpstr>
      <vt:lpstr>Courier New</vt:lpstr>
      <vt:lpstr>Lato Light</vt:lpstr>
      <vt:lpstr>Merriweather Sans</vt:lpstr>
      <vt:lpstr>Montserrat Black</vt:lpstr>
      <vt:lpstr>Open Sans</vt:lpstr>
      <vt:lpstr>Open Sans Light</vt:lpstr>
      <vt:lpstr>Questrial</vt:lpstr>
      <vt:lpstr>Source Sans Pro</vt:lpstr>
      <vt:lpstr>Wingdings</vt:lpstr>
      <vt:lpstr>Internal Spreads</vt:lpstr>
      <vt:lpstr>1_Internal Spreads</vt:lpstr>
      <vt:lpstr>Internal Spreads</vt:lpstr>
      <vt:lpstr>Cover + Divider Slides</vt:lpstr>
      <vt:lpstr>2_Internal Spreads</vt:lpstr>
      <vt:lpstr>think-cell Slide</vt:lpstr>
      <vt:lpstr>PowerPoint Presentation</vt:lpstr>
      <vt:lpstr>Next Generation Software Defined Storage</vt:lpstr>
      <vt:lpstr>Flexible Storage Solutions</vt:lpstr>
      <vt:lpstr>PowerPoint Presentation</vt:lpstr>
      <vt:lpstr>Unified Multi-site Management &amp; Security Enforcement</vt:lpstr>
      <vt:lpstr>Seagate Corvault vs Seagate Exos E</vt:lpstr>
      <vt:lpstr>PowerPoint Presentation</vt:lpstr>
      <vt:lpstr>Seagate Integrated</vt:lpstr>
      <vt:lpstr>Auto-Tiering to Seagate Lyve Cloud</vt:lpstr>
      <vt:lpstr>Scale-out Object Storage Overview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Seagate Corvault Integration</vt:lpstr>
      <vt:lpstr>New Innovations, New Challenges</vt:lpstr>
      <vt:lpstr>A New Generation of Storage Virtualization</vt:lpstr>
      <vt:lpstr>A New Generation of Storage Virtualization</vt:lpstr>
      <vt:lpstr>A New Generation of Storage Virtualization</vt:lpstr>
      <vt:lpstr>Q&amp;A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arinanda</dc:creator>
  <cp:lastModifiedBy>Steven Umbehocker</cp:lastModifiedBy>
  <cp:revision>192</cp:revision>
  <cp:lastPrinted>2022-09-23T23:47:02Z</cp:lastPrinted>
  <dcterms:created xsi:type="dcterms:W3CDTF">2020-05-13T16:07:21Z</dcterms:created>
  <dcterms:modified xsi:type="dcterms:W3CDTF">2024-05-01T05:33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assificationContentMarkingFooterLocations">
    <vt:lpwstr>Office Theme:5\Internal Spreads:3\1_Internal Spreads:3</vt:lpwstr>
  </property>
  <property fmtid="{D5CDD505-2E9C-101B-9397-08002B2CF9AE}" pid="3" name="ClassificationContentMarkingFooterText">
    <vt:lpwstr>Seagate Internal</vt:lpwstr>
  </property>
</Properties>
</file>